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8.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9.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0.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1.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2.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00" r:id="rId4"/>
    <p:sldMasterId id="2147484602" r:id="rId5"/>
    <p:sldMasterId id="2147484630" r:id="rId6"/>
    <p:sldMasterId id="2147484646" r:id="rId7"/>
    <p:sldMasterId id="2147484679" r:id="rId8"/>
    <p:sldMasterId id="2147484691" r:id="rId9"/>
    <p:sldMasterId id="2147484715" r:id="rId10"/>
    <p:sldMasterId id="2147484783" r:id="rId11"/>
    <p:sldMasterId id="2147484830" r:id="rId12"/>
    <p:sldMasterId id="2147484847" r:id="rId13"/>
    <p:sldMasterId id="2147484866" r:id="rId14"/>
    <p:sldMasterId id="2147484892" r:id="rId15"/>
    <p:sldMasterId id="2147484909" r:id="rId16"/>
    <p:sldMasterId id="2147484948" r:id="rId17"/>
  </p:sldMasterIdLst>
  <p:notesMasterIdLst>
    <p:notesMasterId r:id="rId63"/>
  </p:notesMasterIdLst>
  <p:sldIdLst>
    <p:sldId id="302" r:id="rId18"/>
    <p:sldId id="2076135969" r:id="rId19"/>
    <p:sldId id="2076136494" r:id="rId20"/>
    <p:sldId id="2076136495" r:id="rId21"/>
    <p:sldId id="5708" r:id="rId22"/>
    <p:sldId id="2076135894" r:id="rId23"/>
    <p:sldId id="2076135938" r:id="rId24"/>
    <p:sldId id="258" r:id="rId25"/>
    <p:sldId id="259" r:id="rId26"/>
    <p:sldId id="262" r:id="rId27"/>
    <p:sldId id="3412" r:id="rId28"/>
    <p:sldId id="1614" r:id="rId29"/>
    <p:sldId id="2076136499" r:id="rId30"/>
    <p:sldId id="3888" r:id="rId31"/>
    <p:sldId id="1566" r:id="rId32"/>
    <p:sldId id="10796" r:id="rId33"/>
    <p:sldId id="10797" r:id="rId34"/>
    <p:sldId id="10798" r:id="rId35"/>
    <p:sldId id="3882" r:id="rId36"/>
    <p:sldId id="3901" r:id="rId37"/>
    <p:sldId id="3899" r:id="rId38"/>
    <p:sldId id="3902" r:id="rId39"/>
    <p:sldId id="2076136508" r:id="rId40"/>
    <p:sldId id="3904" r:id="rId41"/>
    <p:sldId id="3906" r:id="rId42"/>
    <p:sldId id="10824" r:id="rId43"/>
    <p:sldId id="10825" r:id="rId44"/>
    <p:sldId id="10783" r:id="rId45"/>
    <p:sldId id="10826" r:id="rId46"/>
    <p:sldId id="1410" r:id="rId47"/>
    <p:sldId id="2076136496" r:id="rId48"/>
    <p:sldId id="2289" r:id="rId49"/>
    <p:sldId id="1895" r:id="rId50"/>
    <p:sldId id="1894" r:id="rId51"/>
    <p:sldId id="1892" r:id="rId52"/>
    <p:sldId id="2290" r:id="rId53"/>
    <p:sldId id="2076136044" r:id="rId54"/>
    <p:sldId id="1879" r:id="rId55"/>
    <p:sldId id="2076136497" r:id="rId56"/>
    <p:sldId id="2294" r:id="rId57"/>
    <p:sldId id="2076136498" r:id="rId58"/>
    <p:sldId id="2293" r:id="rId59"/>
    <p:sldId id="1567" r:id="rId60"/>
    <p:sldId id="304" r:id="rId61"/>
    <p:sldId id="9149"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AD50C72-71AA-45E0-9541-2079CD9E3978}">
          <p14:sldIdLst>
            <p14:sldId id="302"/>
            <p14:sldId id="2076135969"/>
            <p14:sldId id="2076136494"/>
            <p14:sldId id="2076136495"/>
          </p14:sldIdLst>
        </p14:section>
        <p14:section name="Opportunity" id="{C49BEDB4-A164-4E45-8912-4F2C58A5758A}">
          <p14:sldIdLst>
            <p14:sldId id="5708"/>
            <p14:sldId id="2076135894"/>
            <p14:sldId id="2076135938"/>
            <p14:sldId id="258"/>
            <p14:sldId id="259"/>
            <p14:sldId id="262"/>
            <p14:sldId id="3412"/>
            <p14:sldId id="1614"/>
            <p14:sldId id="2076136499"/>
            <p14:sldId id="3888"/>
            <p14:sldId id="1566"/>
            <p14:sldId id="10796"/>
            <p14:sldId id="10797"/>
            <p14:sldId id="10798"/>
            <p14:sldId id="3882"/>
            <p14:sldId id="3901"/>
            <p14:sldId id="3899"/>
            <p14:sldId id="3902"/>
            <p14:sldId id="2076136508"/>
            <p14:sldId id="3904"/>
            <p14:sldId id="3906"/>
          </p14:sldIdLst>
        </p14:section>
        <p14:section name="WVD Scenarier" id="{D057C7FD-8A68-4241-B350-D2021008074D}">
          <p14:sldIdLst>
            <p14:sldId id="10824"/>
            <p14:sldId id="10825"/>
            <p14:sldId id="10783"/>
          </p14:sldIdLst>
        </p14:section>
        <p14:section name="Licensing" id="{240E2542-3926-423B-AEAD-42D4461CF1AE}">
          <p14:sldIdLst>
            <p14:sldId id="10826"/>
            <p14:sldId id="1410"/>
          </p14:sldIdLst>
        </p14:section>
        <p14:section name="Architecture" id="{25919BD9-A355-4DB7-91B3-E764E3975160}">
          <p14:sldIdLst>
            <p14:sldId id="2076136496"/>
            <p14:sldId id="2289"/>
            <p14:sldId id="1895"/>
            <p14:sldId id="1894"/>
            <p14:sldId id="1892"/>
            <p14:sldId id="2290"/>
            <p14:sldId id="2076136044"/>
          </p14:sldIdLst>
        </p14:section>
        <p14:section name="Deployment" id="{0AA69549-423E-4201-B4EC-3C5CC583FC1D}">
          <p14:sldIdLst>
            <p14:sldId id="1879"/>
          </p14:sldIdLst>
        </p14:section>
        <p14:section name="Partner Focus Areas" id="{DE567D27-A0D6-479D-828A-50B99E134C84}">
          <p14:sldIdLst>
            <p14:sldId id="2076136497"/>
            <p14:sldId id="2294"/>
            <p14:sldId id="2076136498"/>
            <p14:sldId id="2293"/>
            <p14:sldId id="1567"/>
            <p14:sldId id="304"/>
          </p14:sldIdLst>
        </p14:section>
        <p14:section name="Untitled Section" id="{A0234C4A-B2A8-4FE8-B4E6-18C6B5367683}">
          <p14:sldIdLst>
            <p14:sldId id="91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9E7516-DE2C-B228-CF32-D068D5BF8676}" name="Jon Orton" initials="JO" userId="S::jonorton@microsoft.com::b929e65e-fcdc-4557-a1ff-b0d4ce98b76d" providerId="AD"/>
  <p188:author id="{5040B426-493D-EC0C-9242-E44DF6FC523D}" name="Ashanka Iddya" initials="AI" userId="S::ashiddya@microsoft.com::56052127-e867-4e10-9385-524acb06654e" providerId="AD"/>
  <p188:author id="{BD9E44BD-AC76-7047-71EA-8C57A83334C3}" name="Zahid Saeed" initials="ZS" userId="S::zasaeed@microsoft.com::b8eeae82-1c1d-4859-a9c0-5ac34f535b2a" providerId="AD"/>
  <p188:author id="{0FEF09D0-A4EE-2A5C-B511-D8CFD33EB408}" name="Marc Shepard" initials="MS" userId="S::marcshep@ntdev.microsoft.com::4303e462-6f29-4508-884a-7712f10a5ac5" providerId="AD"/>
  <p188:author id="{14E2CAE4-D5BE-3F78-FC3D-EF234511AA9E}" name="Matt Hall" initials="MH" userId="S::mathal@microsoft.com::a534ab28-d2d0-46ed-b3cd-74e3b961d339" providerId="AD"/>
  <p188:author id="{2471F8E5-39E5-D758-13F2-5D196CE375E6}" name="Paul Lenehan" initials="PL" userId="S::paul@microsoft.com::35895ecc-7e63-4a4c-9ab9-0028e2d52b6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c Shepard" initials="MS" lastIdx="43" clrIdx="0">
    <p:extLst>
      <p:ext uri="{19B8F6BF-5375-455C-9EA6-DF929625EA0E}">
        <p15:presenceInfo xmlns:p15="http://schemas.microsoft.com/office/powerpoint/2012/main" userId="S::marcshep@ntdev.microsoft.com::4303e462-6f29-4508-884a-7712f10a5ac5" providerId="AD"/>
      </p:ext>
    </p:extLst>
  </p:cmAuthor>
  <p:cmAuthor id="2" name="Paul Lenehan" initials="PL" lastIdx="17" clrIdx="1">
    <p:extLst>
      <p:ext uri="{19B8F6BF-5375-455C-9EA6-DF929625EA0E}">
        <p15:presenceInfo xmlns:p15="http://schemas.microsoft.com/office/powerpoint/2012/main" userId="S::paul@microsoft.com::35895ecc-7e63-4a4c-9ab9-0028e2d52b62" providerId="AD"/>
      </p:ext>
    </p:extLst>
  </p:cmAuthor>
  <p:cmAuthor id="3" name="Matt Hall" initials="MH" lastIdx="1" clrIdx="2">
    <p:extLst>
      <p:ext uri="{19B8F6BF-5375-455C-9EA6-DF929625EA0E}">
        <p15:presenceInfo xmlns:p15="http://schemas.microsoft.com/office/powerpoint/2012/main" userId="S::mathal@microsoft.com::a534ab28-d2d0-46ed-b3cd-74e3b961d339" providerId="AD"/>
      </p:ext>
    </p:extLst>
  </p:cmAuthor>
  <p:cmAuthor id="4" name="Zahid Saeed" initials="ZS" lastIdx="1" clrIdx="3">
    <p:extLst>
      <p:ext uri="{19B8F6BF-5375-455C-9EA6-DF929625EA0E}">
        <p15:presenceInfo xmlns:p15="http://schemas.microsoft.com/office/powerpoint/2012/main" userId="S::zasaeed@microsoft.com::b8eeae82-1c1d-4859-a9c0-5ac34f535b2a" providerId="AD"/>
      </p:ext>
    </p:extLst>
  </p:cmAuthor>
  <p:cmAuthor id="5" name="Unknown User1" initials="Unknown User1" lastIdx="2" clrIdx="4"/>
  <p:cmAuthor id="6" name="Unknown User2" initials="Unknown User2" lastIdx="3"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1C1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BBFCFD-80E5-4CD1-AABD-CE021F788FB0}" v="1" dt="2020-01-22T04:34:43.303"/>
    <p1510:client id="{70BA7881-8769-4549-A7E8-1E0DE30791E1}" v="463" dt="2020-01-21T07:39:58.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78" autoAdjust="0"/>
    <p:restoredTop sz="84416" autoAdjust="0"/>
  </p:normalViewPr>
  <p:slideViewPr>
    <p:cSldViewPr snapToGrid="0">
      <p:cViewPr varScale="1">
        <p:scale>
          <a:sx n="82" d="100"/>
          <a:sy n="82" d="100"/>
        </p:scale>
        <p:origin x="15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notesMaster" Target="notesMasters/notesMaster1.xml"/><Relationship Id="rId68" Type="http://schemas.openxmlformats.org/officeDocument/2006/relationships/tableStyles" Target="tableStyles.xml"/><Relationship Id="rId89"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 Hall" userId="a534ab28-d2d0-46ed-b3cd-74e3b961d339" providerId="ADAL" clId="{4912254B-EAE0-40F7-A948-38B19BB32ED9}"/>
    <pc:docChg chg="delSld modSection">
      <pc:chgData name="Matt Hall" userId="a534ab28-d2d0-46ed-b3cd-74e3b961d339" providerId="ADAL" clId="{4912254B-EAE0-40F7-A948-38B19BB32ED9}" dt="2019-10-04T16:41:06.095" v="2" actId="2696"/>
      <pc:docMkLst>
        <pc:docMk/>
      </pc:docMkLst>
      <pc:sldChg chg="del">
        <pc:chgData name="Matt Hall" userId="a534ab28-d2d0-46ed-b3cd-74e3b961d339" providerId="ADAL" clId="{4912254B-EAE0-40F7-A948-38B19BB32ED9}" dt="2019-10-04T16:40:27.611" v="1" actId="47"/>
        <pc:sldMkLst>
          <pc:docMk/>
          <pc:sldMk cId="3832420484" sldId="1633"/>
        </pc:sldMkLst>
      </pc:sldChg>
      <pc:sldChg chg="del">
        <pc:chgData name="Matt Hall" userId="a534ab28-d2d0-46ed-b3cd-74e3b961d339" providerId="ADAL" clId="{4912254B-EAE0-40F7-A948-38B19BB32ED9}" dt="2019-10-04T16:40:13.182" v="0" actId="47"/>
        <pc:sldMkLst>
          <pc:docMk/>
          <pc:sldMk cId="2852770128" sldId="5705"/>
        </pc:sldMkLst>
      </pc:sldChg>
      <pc:sldChg chg="del">
        <pc:chgData name="Matt Hall" userId="a534ab28-d2d0-46ed-b3cd-74e3b961d339" providerId="ADAL" clId="{4912254B-EAE0-40F7-A948-38B19BB32ED9}" dt="2019-10-04T16:41:06.095" v="2" actId="2696"/>
        <pc:sldMkLst>
          <pc:docMk/>
          <pc:sldMk cId="3271987904" sldId="5968"/>
        </pc:sldMkLst>
      </pc:sldChg>
      <pc:sldChg chg="del">
        <pc:chgData name="Matt Hall" userId="a534ab28-d2d0-46ed-b3cd-74e3b961d339" providerId="ADAL" clId="{4912254B-EAE0-40F7-A948-38B19BB32ED9}" dt="2019-10-04T16:41:06.095" v="2" actId="2696"/>
        <pc:sldMkLst>
          <pc:docMk/>
          <pc:sldMk cId="237807472" sldId="9111"/>
        </pc:sldMkLst>
      </pc:sldChg>
      <pc:sldChg chg="del">
        <pc:chgData name="Matt Hall" userId="a534ab28-d2d0-46ed-b3cd-74e3b961d339" providerId="ADAL" clId="{4912254B-EAE0-40F7-A948-38B19BB32ED9}" dt="2019-10-04T16:41:06.095" v="2" actId="2696"/>
        <pc:sldMkLst>
          <pc:docMk/>
          <pc:sldMk cId="1696875583" sldId="9116"/>
        </pc:sldMkLst>
      </pc:sldChg>
      <pc:sldChg chg="del">
        <pc:chgData name="Matt Hall" userId="a534ab28-d2d0-46ed-b3cd-74e3b961d339" providerId="ADAL" clId="{4912254B-EAE0-40F7-A948-38B19BB32ED9}" dt="2019-10-04T16:41:06.095" v="2" actId="2696"/>
        <pc:sldMkLst>
          <pc:docMk/>
          <pc:sldMk cId="1222058887" sldId="9117"/>
        </pc:sldMkLst>
      </pc:sldChg>
      <pc:sldChg chg="del">
        <pc:chgData name="Matt Hall" userId="a534ab28-d2d0-46ed-b3cd-74e3b961d339" providerId="ADAL" clId="{4912254B-EAE0-40F7-A948-38B19BB32ED9}" dt="2019-10-04T16:41:06.095" v="2" actId="2696"/>
        <pc:sldMkLst>
          <pc:docMk/>
          <pc:sldMk cId="1862130412" sldId="9118"/>
        </pc:sldMkLst>
      </pc:sldChg>
      <pc:sldChg chg="del">
        <pc:chgData name="Matt Hall" userId="a534ab28-d2d0-46ed-b3cd-74e3b961d339" providerId="ADAL" clId="{4912254B-EAE0-40F7-A948-38B19BB32ED9}" dt="2019-10-04T16:41:06.095" v="2" actId="2696"/>
        <pc:sldMkLst>
          <pc:docMk/>
          <pc:sldMk cId="3516221406" sldId="9119"/>
        </pc:sldMkLst>
      </pc:sldChg>
      <pc:sldChg chg="del">
        <pc:chgData name="Matt Hall" userId="a534ab28-d2d0-46ed-b3cd-74e3b961d339" providerId="ADAL" clId="{4912254B-EAE0-40F7-A948-38B19BB32ED9}" dt="2019-10-04T16:41:06.095" v="2" actId="2696"/>
        <pc:sldMkLst>
          <pc:docMk/>
          <pc:sldMk cId="4171621451" sldId="2076135980"/>
        </pc:sldMkLst>
      </pc:sldChg>
      <pc:sldChg chg="del">
        <pc:chgData name="Matt Hall" userId="a534ab28-d2d0-46ed-b3cd-74e3b961d339" providerId="ADAL" clId="{4912254B-EAE0-40F7-A948-38B19BB32ED9}" dt="2019-10-04T16:41:06.095" v="2" actId="2696"/>
        <pc:sldMkLst>
          <pc:docMk/>
          <pc:sldMk cId="187604167" sldId="2076135990"/>
        </pc:sldMkLst>
      </pc:sldChg>
      <pc:sldChg chg="del">
        <pc:chgData name="Matt Hall" userId="a534ab28-d2d0-46ed-b3cd-74e3b961d339" providerId="ADAL" clId="{4912254B-EAE0-40F7-A948-38B19BB32ED9}" dt="2019-10-04T16:41:06.095" v="2" actId="2696"/>
        <pc:sldMkLst>
          <pc:docMk/>
          <pc:sldMk cId="3876131430" sldId="2076136482"/>
        </pc:sldMkLst>
      </pc:sldChg>
      <pc:sldChg chg="del">
        <pc:chgData name="Matt Hall" userId="a534ab28-d2d0-46ed-b3cd-74e3b961d339" providerId="ADAL" clId="{4912254B-EAE0-40F7-A948-38B19BB32ED9}" dt="2019-10-04T16:41:06.095" v="2" actId="2696"/>
        <pc:sldMkLst>
          <pc:docMk/>
          <pc:sldMk cId="2386077802" sldId="2076136493"/>
        </pc:sldMkLst>
      </pc:sldChg>
      <pc:sldMasterChg chg="delSldLayout">
        <pc:chgData name="Matt Hall" userId="a534ab28-d2d0-46ed-b3cd-74e3b961d339" providerId="ADAL" clId="{4912254B-EAE0-40F7-A948-38B19BB32ED9}" dt="2019-10-04T16:41:06.095" v="2" actId="2696"/>
        <pc:sldMasterMkLst>
          <pc:docMk/>
          <pc:sldMasterMk cId="415662872" sldId="2147484679"/>
        </pc:sldMasterMkLst>
        <pc:sldLayoutChg chg="del">
          <pc:chgData name="Matt Hall" userId="a534ab28-d2d0-46ed-b3cd-74e3b961d339" providerId="ADAL" clId="{4912254B-EAE0-40F7-A948-38B19BB32ED9}" dt="2019-10-04T16:41:06.095" v="2" actId="2696"/>
          <pc:sldLayoutMkLst>
            <pc:docMk/>
            <pc:sldMasterMk cId="415662872" sldId="2147484679"/>
            <pc:sldLayoutMk cId="1042753972" sldId="2147484686"/>
          </pc:sldLayoutMkLst>
        </pc:sldLayoutChg>
      </pc:sldMasterChg>
    </pc:docChg>
  </pc:docChgLst>
  <pc:docChgLst>
    <pc:chgData name="Ronni Pedersen" userId="fcbfee6c-4a37-47f8-852f-316a013e8f69" providerId="ADAL" clId="{B1396B58-AB9F-45C7-961A-F7523578277C}"/>
    <pc:docChg chg="modSld">
      <pc:chgData name="Ronni Pedersen" userId="fcbfee6c-4a37-47f8-852f-316a013e8f69" providerId="ADAL" clId="{B1396B58-AB9F-45C7-961A-F7523578277C}" dt="2019-11-14T15:35:59.559" v="59" actId="14734"/>
      <pc:docMkLst>
        <pc:docMk/>
      </pc:docMkLst>
      <pc:sldChg chg="modSp">
        <pc:chgData name="Ronni Pedersen" userId="fcbfee6c-4a37-47f8-852f-316a013e8f69" providerId="ADAL" clId="{B1396B58-AB9F-45C7-961A-F7523578277C}" dt="2019-11-14T15:35:29.195" v="58" actId="20577"/>
        <pc:sldMkLst>
          <pc:docMk/>
          <pc:sldMk cId="4163658541" sldId="302"/>
        </pc:sldMkLst>
        <pc:spChg chg="mod">
          <ac:chgData name="Ronni Pedersen" userId="fcbfee6c-4a37-47f8-852f-316a013e8f69" providerId="ADAL" clId="{B1396B58-AB9F-45C7-961A-F7523578277C}" dt="2019-11-14T15:35:29.195" v="58" actId="20577"/>
          <ac:spMkLst>
            <pc:docMk/>
            <pc:sldMk cId="4163658541" sldId="302"/>
            <ac:spMk id="3" creationId="{D05C6155-CEF0-4464-9529-3BB3B426C3B7}"/>
          </ac:spMkLst>
        </pc:spChg>
      </pc:sldChg>
      <pc:sldChg chg="modSp">
        <pc:chgData name="Ronni Pedersen" userId="fcbfee6c-4a37-47f8-852f-316a013e8f69" providerId="ADAL" clId="{B1396B58-AB9F-45C7-961A-F7523578277C}" dt="2019-11-14T15:35:59.559" v="59" actId="14734"/>
        <pc:sldMkLst>
          <pc:docMk/>
          <pc:sldMk cId="1912622331" sldId="2076135968"/>
        </pc:sldMkLst>
        <pc:graphicFrameChg chg="modGraphic">
          <ac:chgData name="Ronni Pedersen" userId="fcbfee6c-4a37-47f8-852f-316a013e8f69" providerId="ADAL" clId="{B1396B58-AB9F-45C7-961A-F7523578277C}" dt="2019-11-14T15:35:59.559" v="59" actId="14734"/>
          <ac:graphicFrameMkLst>
            <pc:docMk/>
            <pc:sldMk cId="1912622331" sldId="2076135968"/>
            <ac:graphicFrameMk id="6" creationId="{CD3DA1A2-6373-4AA8-A488-6DD33A2CCB58}"/>
          </ac:graphicFrameMkLst>
        </pc:graphicFrameChg>
      </pc:sldChg>
    </pc:docChg>
  </pc:docChgLst>
  <pc:docChgLst>
    <pc:chgData name="Matt Hall" userId="a534ab28-d2d0-46ed-b3cd-74e3b961d339" providerId="ADAL" clId="{1DAF9211-B634-44DE-9870-82F6FFA5893A}"/>
    <pc:docChg chg="undo custSel delSld modSld sldOrd delSection modSection">
      <pc:chgData name="Matt Hall" userId="a534ab28-d2d0-46ed-b3cd-74e3b961d339" providerId="ADAL" clId="{1DAF9211-B634-44DE-9870-82F6FFA5893A}" dt="2019-09-01T01:36:31.913" v="4903" actId="1076"/>
      <pc:docMkLst>
        <pc:docMk/>
      </pc:docMkLst>
      <pc:sldChg chg="modNotesTx">
        <pc:chgData name="Matt Hall" userId="a534ab28-d2d0-46ed-b3cd-74e3b961d339" providerId="ADAL" clId="{1DAF9211-B634-44DE-9870-82F6FFA5893A}" dt="2019-09-01T01:01:44.270" v="2336" actId="20577"/>
        <pc:sldMkLst>
          <pc:docMk/>
          <pc:sldMk cId="4163658541" sldId="302"/>
        </pc:sldMkLst>
      </pc:sldChg>
      <pc:sldChg chg="modNotesTx">
        <pc:chgData name="Matt Hall" userId="a534ab28-d2d0-46ed-b3cd-74e3b961d339" providerId="ADAL" clId="{1DAF9211-B634-44DE-9870-82F6FFA5893A}" dt="2019-09-01T01:11:47.151" v="4518" actId="113"/>
        <pc:sldMkLst>
          <pc:docMk/>
          <pc:sldMk cId="1608802035" sldId="1164"/>
        </pc:sldMkLst>
      </pc:sldChg>
      <pc:sldChg chg="modSp mod modNotesTx">
        <pc:chgData name="Matt Hall" userId="a534ab28-d2d0-46ed-b3cd-74e3b961d339" providerId="ADAL" clId="{1DAF9211-B634-44DE-9870-82F6FFA5893A}" dt="2019-09-01T01:13:31.736" v="4660" actId="20577"/>
        <pc:sldMkLst>
          <pc:docMk/>
          <pc:sldMk cId="1303310346" sldId="1410"/>
        </pc:sldMkLst>
        <pc:graphicFrameChg chg="mod modGraphic">
          <ac:chgData name="Matt Hall" userId="a534ab28-d2d0-46ed-b3cd-74e3b961d339" providerId="ADAL" clId="{1DAF9211-B634-44DE-9870-82F6FFA5893A}" dt="2019-09-01T01:13:31.736" v="4660" actId="20577"/>
          <ac:graphicFrameMkLst>
            <pc:docMk/>
            <pc:sldMk cId="1303310346" sldId="1410"/>
            <ac:graphicFrameMk id="6" creationId="{0D29A4B0-A456-435E-84F4-D71306110A63}"/>
          </ac:graphicFrameMkLst>
        </pc:graphicFrameChg>
      </pc:sldChg>
      <pc:sldChg chg="modNotesTx">
        <pc:chgData name="Matt Hall" userId="a534ab28-d2d0-46ed-b3cd-74e3b961d339" providerId="ADAL" clId="{1DAF9211-B634-44DE-9870-82F6FFA5893A}" dt="2019-09-01T01:14:23.919" v="4847" actId="113"/>
        <pc:sldMkLst>
          <pc:docMk/>
          <pc:sldMk cId="3832420484" sldId="1633"/>
        </pc:sldMkLst>
      </pc:sldChg>
      <pc:sldChg chg="delSp modSp mod addAnim delAnim modNotesTx">
        <pc:chgData name="Matt Hall" userId="a534ab28-d2d0-46ed-b3cd-74e3b961d339" providerId="ADAL" clId="{1DAF9211-B634-44DE-9870-82F6FFA5893A}" dt="2019-09-01T01:04:42.237" v="2784" actId="20577"/>
        <pc:sldMkLst>
          <pc:docMk/>
          <pc:sldMk cId="3180155263" sldId="3393"/>
        </pc:sldMkLst>
        <pc:spChg chg="mod">
          <ac:chgData name="Matt Hall" userId="a534ab28-d2d0-46ed-b3cd-74e3b961d339" providerId="ADAL" clId="{1DAF9211-B634-44DE-9870-82F6FFA5893A}" dt="2019-09-01T00:14:34.010" v="1910" actId="207"/>
          <ac:spMkLst>
            <pc:docMk/>
            <pc:sldMk cId="3180155263" sldId="3393"/>
            <ac:spMk id="3" creationId="{210F20B6-3F79-40A1-B02A-EC48901EF3D2}"/>
          </ac:spMkLst>
        </pc:spChg>
        <pc:spChg chg="mod">
          <ac:chgData name="Matt Hall" userId="a534ab28-d2d0-46ed-b3cd-74e3b961d339" providerId="ADAL" clId="{1DAF9211-B634-44DE-9870-82F6FFA5893A}" dt="2019-09-01T00:14:43.902" v="1913" actId="207"/>
          <ac:spMkLst>
            <pc:docMk/>
            <pc:sldMk cId="3180155263" sldId="3393"/>
            <ac:spMk id="27" creationId="{B49DADF5-9358-442C-B585-AA45828BEB6E}"/>
          </ac:spMkLst>
        </pc:spChg>
        <pc:spChg chg="mod">
          <ac:chgData name="Matt Hall" userId="a534ab28-d2d0-46ed-b3cd-74e3b961d339" providerId="ADAL" clId="{1DAF9211-B634-44DE-9870-82F6FFA5893A}" dt="2019-09-01T00:17:23.238" v="1977" actId="20577"/>
          <ac:spMkLst>
            <pc:docMk/>
            <pc:sldMk cId="3180155263" sldId="3393"/>
            <ac:spMk id="29" creationId="{C85AB096-E53F-45FC-A839-1B094DB90E07}"/>
          </ac:spMkLst>
        </pc:spChg>
        <pc:spChg chg="mod">
          <ac:chgData name="Matt Hall" userId="a534ab28-d2d0-46ed-b3cd-74e3b961d339" providerId="ADAL" clId="{1DAF9211-B634-44DE-9870-82F6FFA5893A}" dt="2019-09-01T00:14:40.713" v="1912" actId="207"/>
          <ac:spMkLst>
            <pc:docMk/>
            <pc:sldMk cId="3180155263" sldId="3393"/>
            <ac:spMk id="30" creationId="{D978115B-0164-4783-BDFB-5E5089EF1425}"/>
          </ac:spMkLst>
        </pc:spChg>
        <pc:spChg chg="del">
          <ac:chgData name="Matt Hall" userId="a534ab28-d2d0-46ed-b3cd-74e3b961d339" providerId="ADAL" clId="{1DAF9211-B634-44DE-9870-82F6FFA5893A}" dt="2019-09-01T00:14:22.892" v="1909" actId="478"/>
          <ac:spMkLst>
            <pc:docMk/>
            <pc:sldMk cId="3180155263" sldId="3393"/>
            <ac:spMk id="31" creationId="{65F960C5-1DFF-4EB9-94B1-A4E727C7B412}"/>
          </ac:spMkLst>
        </pc:spChg>
        <pc:spChg chg="mod">
          <ac:chgData name="Matt Hall" userId="a534ab28-d2d0-46ed-b3cd-74e3b961d339" providerId="ADAL" clId="{1DAF9211-B634-44DE-9870-82F6FFA5893A}" dt="2019-09-01T00:13:34.151" v="1900" actId="207"/>
          <ac:spMkLst>
            <pc:docMk/>
            <pc:sldMk cId="3180155263" sldId="3393"/>
            <ac:spMk id="32" creationId="{AB7F2D55-0F1C-4FA2-8F7D-9C40AE31FD96}"/>
          </ac:spMkLst>
        </pc:spChg>
        <pc:spChg chg="del">
          <ac:chgData name="Matt Hall" userId="a534ab28-d2d0-46ed-b3cd-74e3b961d339" providerId="ADAL" clId="{1DAF9211-B634-44DE-9870-82F6FFA5893A}" dt="2019-09-01T00:13:44.610" v="1903" actId="478"/>
          <ac:spMkLst>
            <pc:docMk/>
            <pc:sldMk cId="3180155263" sldId="3393"/>
            <ac:spMk id="36" creationId="{378D9136-45E4-4D70-9A88-53C65BBC0E8A}"/>
          </ac:spMkLst>
        </pc:spChg>
        <pc:spChg chg="del">
          <ac:chgData name="Matt Hall" userId="a534ab28-d2d0-46ed-b3cd-74e3b961d339" providerId="ADAL" clId="{1DAF9211-B634-44DE-9870-82F6FFA5893A}" dt="2019-09-01T00:14:22.892" v="1909" actId="478"/>
          <ac:spMkLst>
            <pc:docMk/>
            <pc:sldMk cId="3180155263" sldId="3393"/>
            <ac:spMk id="37" creationId="{97A125ED-1E26-4515-94C1-B0EFBC761DD7}"/>
          </ac:spMkLst>
        </pc:spChg>
        <pc:spChg chg="del">
          <ac:chgData name="Matt Hall" userId="a534ab28-d2d0-46ed-b3cd-74e3b961d339" providerId="ADAL" clId="{1DAF9211-B634-44DE-9870-82F6FFA5893A}" dt="2019-09-01T00:14:22.892" v="1909" actId="478"/>
          <ac:spMkLst>
            <pc:docMk/>
            <pc:sldMk cId="3180155263" sldId="3393"/>
            <ac:spMk id="38" creationId="{C34B6CF5-328A-4B59-99C6-BAD73A6C91C4}"/>
          </ac:spMkLst>
        </pc:spChg>
        <pc:spChg chg="mod">
          <ac:chgData name="Matt Hall" userId="a534ab28-d2d0-46ed-b3cd-74e3b961d339" providerId="ADAL" clId="{1DAF9211-B634-44DE-9870-82F6FFA5893A}" dt="2019-09-01T00:13:37.551" v="1901" actId="207"/>
          <ac:spMkLst>
            <pc:docMk/>
            <pc:sldMk cId="3180155263" sldId="3393"/>
            <ac:spMk id="40" creationId="{11C36207-1184-44B3-AE98-D99BD90ED339}"/>
          </ac:spMkLst>
        </pc:spChg>
        <pc:spChg chg="mod">
          <ac:chgData name="Matt Hall" userId="a534ab28-d2d0-46ed-b3cd-74e3b961d339" providerId="ADAL" clId="{1DAF9211-B634-44DE-9870-82F6FFA5893A}" dt="2019-09-01T00:13:43.125" v="1902" actId="207"/>
          <ac:spMkLst>
            <pc:docMk/>
            <pc:sldMk cId="3180155263" sldId="3393"/>
            <ac:spMk id="42" creationId="{2D13518C-508F-4744-A2CE-7BD9DFA3AAD7}"/>
          </ac:spMkLst>
        </pc:spChg>
        <pc:spChg chg="mod">
          <ac:chgData name="Matt Hall" userId="a534ab28-d2d0-46ed-b3cd-74e3b961d339" providerId="ADAL" clId="{1DAF9211-B634-44DE-9870-82F6FFA5893A}" dt="2019-09-01T00:13:43.125" v="1902" actId="207"/>
          <ac:spMkLst>
            <pc:docMk/>
            <pc:sldMk cId="3180155263" sldId="3393"/>
            <ac:spMk id="43" creationId="{21CB649F-0B8D-4472-9B01-DA99183EA1EE}"/>
          </ac:spMkLst>
        </pc:spChg>
        <pc:grpChg chg="mod">
          <ac:chgData name="Matt Hall" userId="a534ab28-d2d0-46ed-b3cd-74e3b961d339" providerId="ADAL" clId="{1DAF9211-B634-44DE-9870-82F6FFA5893A}" dt="2019-09-01T00:13:43.125" v="1902" actId="207"/>
          <ac:grpSpMkLst>
            <pc:docMk/>
            <pc:sldMk cId="3180155263" sldId="3393"/>
            <ac:grpSpMk id="41" creationId="{0A334C87-B64A-476D-BACD-53C6772AADED}"/>
          </ac:grpSpMkLst>
        </pc:grpChg>
      </pc:sldChg>
      <pc:sldChg chg="modSp mod ord setBg modNotesTx">
        <pc:chgData name="Matt Hall" userId="a534ab28-d2d0-46ed-b3cd-74e3b961d339" providerId="ADAL" clId="{1DAF9211-B634-44DE-9870-82F6FFA5893A}" dt="2019-09-01T01:04:26.051" v="2740" actId="20577"/>
        <pc:sldMkLst>
          <pc:docMk/>
          <pc:sldMk cId="1922335110" sldId="3412"/>
        </pc:sldMkLst>
        <pc:spChg chg="mod">
          <ac:chgData name="Matt Hall" userId="a534ab28-d2d0-46ed-b3cd-74e3b961d339" providerId="ADAL" clId="{1DAF9211-B634-44DE-9870-82F6FFA5893A}" dt="2019-09-01T00:13:08.271" v="1898" actId="207"/>
          <ac:spMkLst>
            <pc:docMk/>
            <pc:sldMk cId="1922335110" sldId="3412"/>
            <ac:spMk id="9" creationId="{F78DDCC0-5688-4E9E-86CA-8DA1CA4170E9}"/>
          </ac:spMkLst>
        </pc:spChg>
        <pc:spChg chg="mod">
          <ac:chgData name="Matt Hall" userId="a534ab28-d2d0-46ed-b3cd-74e3b961d339" providerId="ADAL" clId="{1DAF9211-B634-44DE-9870-82F6FFA5893A}" dt="2019-09-01T00:13:20.170" v="1899" actId="207"/>
          <ac:spMkLst>
            <pc:docMk/>
            <pc:sldMk cId="1922335110" sldId="3412"/>
            <ac:spMk id="17" creationId="{AEBE18E0-D5CD-45F7-8A5E-FF44B5DF8E76}"/>
          </ac:spMkLst>
        </pc:spChg>
        <pc:spChg chg="mod">
          <ac:chgData name="Matt Hall" userId="a534ab28-d2d0-46ed-b3cd-74e3b961d339" providerId="ADAL" clId="{1DAF9211-B634-44DE-9870-82F6FFA5893A}" dt="2019-09-01T00:12:50.443" v="1894" actId="207"/>
          <ac:spMkLst>
            <pc:docMk/>
            <pc:sldMk cId="1922335110" sldId="3412"/>
            <ac:spMk id="22" creationId="{0BAE7F80-619E-4318-BE74-F0B5B4325F7E}"/>
          </ac:spMkLst>
        </pc:spChg>
        <pc:spChg chg="mod">
          <ac:chgData name="Matt Hall" userId="a534ab28-d2d0-46ed-b3cd-74e3b961d339" providerId="ADAL" clId="{1DAF9211-B634-44DE-9870-82F6FFA5893A}" dt="2019-09-01T00:12:32.991" v="1888" actId="207"/>
          <ac:spMkLst>
            <pc:docMk/>
            <pc:sldMk cId="1922335110" sldId="3412"/>
            <ac:spMk id="24" creationId="{4367FA2C-D796-4CB0-9EE4-00C85084D33D}"/>
          </ac:spMkLst>
        </pc:spChg>
        <pc:spChg chg="mod">
          <ac:chgData name="Matt Hall" userId="a534ab28-d2d0-46ed-b3cd-74e3b961d339" providerId="ADAL" clId="{1DAF9211-B634-44DE-9870-82F6FFA5893A}" dt="2019-09-01T00:12:53.432" v="1895" actId="207"/>
          <ac:spMkLst>
            <pc:docMk/>
            <pc:sldMk cId="1922335110" sldId="3412"/>
            <ac:spMk id="32" creationId="{4B7656D8-BB97-4044-99CC-2DEF86D03244}"/>
          </ac:spMkLst>
        </pc:spChg>
        <pc:spChg chg="mod">
          <ac:chgData name="Matt Hall" userId="a534ab28-d2d0-46ed-b3cd-74e3b961d339" providerId="ADAL" clId="{1DAF9211-B634-44DE-9870-82F6FFA5893A}" dt="2019-09-01T00:12:35.258" v="1889" actId="207"/>
          <ac:spMkLst>
            <pc:docMk/>
            <pc:sldMk cId="1922335110" sldId="3412"/>
            <ac:spMk id="34" creationId="{5AB63635-0479-41B4-9724-BFCD995C75F2}"/>
          </ac:spMkLst>
        </pc:spChg>
        <pc:spChg chg="mod">
          <ac:chgData name="Matt Hall" userId="a534ab28-d2d0-46ed-b3cd-74e3b961d339" providerId="ADAL" clId="{1DAF9211-B634-44DE-9870-82F6FFA5893A}" dt="2019-09-01T00:12:47.606" v="1893" actId="207"/>
          <ac:spMkLst>
            <pc:docMk/>
            <pc:sldMk cId="1922335110" sldId="3412"/>
            <ac:spMk id="36" creationId="{FC3F6582-29B7-48E7-90EE-57D6425B3502}"/>
          </ac:spMkLst>
        </pc:spChg>
        <pc:spChg chg="mod">
          <ac:chgData name="Matt Hall" userId="a534ab28-d2d0-46ed-b3cd-74e3b961d339" providerId="ADAL" clId="{1DAF9211-B634-44DE-9870-82F6FFA5893A}" dt="2019-09-01T00:12:56.025" v="1896" actId="207"/>
          <ac:spMkLst>
            <pc:docMk/>
            <pc:sldMk cId="1922335110" sldId="3412"/>
            <ac:spMk id="39" creationId="{4FB794FD-3E8A-4ACE-8501-9A009804A730}"/>
          </ac:spMkLst>
        </pc:spChg>
        <pc:spChg chg="mod">
          <ac:chgData name="Matt Hall" userId="a534ab28-d2d0-46ed-b3cd-74e3b961d339" providerId="ADAL" clId="{1DAF9211-B634-44DE-9870-82F6FFA5893A}" dt="2019-09-01T00:12:37.838" v="1890" actId="207"/>
          <ac:spMkLst>
            <pc:docMk/>
            <pc:sldMk cId="1922335110" sldId="3412"/>
            <ac:spMk id="41" creationId="{2E1C053D-CE27-423F-9628-3426832C52AE}"/>
          </ac:spMkLst>
        </pc:spChg>
        <pc:spChg chg="mod">
          <ac:chgData name="Matt Hall" userId="a534ab28-d2d0-46ed-b3cd-74e3b961d339" providerId="ADAL" clId="{1DAF9211-B634-44DE-9870-82F6FFA5893A}" dt="2019-09-01T00:12:27.535" v="1886" actId="207"/>
          <ac:spMkLst>
            <pc:docMk/>
            <pc:sldMk cId="1922335110" sldId="3412"/>
            <ac:spMk id="43" creationId="{43C3CF75-C7B4-422A-B400-0C7C1A21FCAD}"/>
          </ac:spMkLst>
        </pc:spChg>
        <pc:spChg chg="mod">
          <ac:chgData name="Matt Hall" userId="a534ab28-d2d0-46ed-b3cd-74e3b961d339" providerId="ADAL" clId="{1DAF9211-B634-44DE-9870-82F6FFA5893A}" dt="2019-09-01T00:12:40.459" v="1891" actId="207"/>
          <ac:spMkLst>
            <pc:docMk/>
            <pc:sldMk cId="1922335110" sldId="3412"/>
            <ac:spMk id="44" creationId="{565A466B-F541-4DBB-A8B5-34C0FA840C6D}"/>
          </ac:spMkLst>
        </pc:spChg>
        <pc:spChg chg="mod">
          <ac:chgData name="Matt Hall" userId="a534ab28-d2d0-46ed-b3cd-74e3b961d339" providerId="ADAL" clId="{1DAF9211-B634-44DE-9870-82F6FFA5893A}" dt="2019-09-01T00:12:44.196" v="1892" actId="207"/>
          <ac:spMkLst>
            <pc:docMk/>
            <pc:sldMk cId="1922335110" sldId="3412"/>
            <ac:spMk id="48" creationId="{4E223A22-8EB7-485A-92EE-14FB3EC349A5}"/>
          </ac:spMkLst>
        </pc:spChg>
        <pc:spChg chg="mod">
          <ac:chgData name="Matt Hall" userId="a534ab28-d2d0-46ed-b3cd-74e3b961d339" providerId="ADAL" clId="{1DAF9211-B634-44DE-9870-82F6FFA5893A}" dt="2019-09-01T00:12:30.311" v="1887" actId="207"/>
          <ac:spMkLst>
            <pc:docMk/>
            <pc:sldMk cId="1922335110" sldId="3412"/>
            <ac:spMk id="54" creationId="{D2175DEC-1D0E-4DF6-97A5-B350AAC94304}"/>
          </ac:spMkLst>
        </pc:spChg>
      </pc:sldChg>
      <pc:sldChg chg="del">
        <pc:chgData name="Matt Hall" userId="a534ab28-d2d0-46ed-b3cd-74e3b961d339" providerId="ADAL" clId="{1DAF9211-B634-44DE-9870-82F6FFA5893A}" dt="2019-09-01T00:16:46.670" v="1918" actId="47"/>
        <pc:sldMkLst>
          <pc:docMk/>
          <pc:sldMk cId="4170269231" sldId="4314"/>
        </pc:sldMkLst>
      </pc:sldChg>
      <pc:sldChg chg="modSp mod modAnim">
        <pc:chgData name="Matt Hall" userId="a534ab28-d2d0-46ed-b3cd-74e3b961d339" providerId="ADAL" clId="{1DAF9211-B634-44DE-9870-82F6FFA5893A}" dt="2019-09-01T00:08:04.265" v="1880" actId="20577"/>
        <pc:sldMkLst>
          <pc:docMk/>
          <pc:sldMk cId="2495892517" sldId="5708"/>
        </pc:sldMkLst>
        <pc:spChg chg="mod">
          <ac:chgData name="Matt Hall" userId="a534ab28-d2d0-46ed-b3cd-74e3b961d339" providerId="ADAL" clId="{1DAF9211-B634-44DE-9870-82F6FFA5893A}" dt="2019-09-01T00:08:04.265" v="1880" actId="20577"/>
          <ac:spMkLst>
            <pc:docMk/>
            <pc:sldMk cId="2495892517" sldId="5708"/>
            <ac:spMk id="9" creationId="{002B413C-D57A-467F-B2FB-CC2CEEEC2383}"/>
          </ac:spMkLst>
        </pc:spChg>
      </pc:sldChg>
      <pc:sldChg chg="del">
        <pc:chgData name="Matt Hall" userId="a534ab28-d2d0-46ed-b3cd-74e3b961d339" providerId="ADAL" clId="{1DAF9211-B634-44DE-9870-82F6FFA5893A}" dt="2019-09-01T00:23:25.701" v="2331" actId="47"/>
        <pc:sldMkLst>
          <pc:docMk/>
          <pc:sldMk cId="1121544838" sldId="8449"/>
        </pc:sldMkLst>
      </pc:sldChg>
      <pc:sldChg chg="ord modNotesTx">
        <pc:chgData name="Matt Hall" userId="a534ab28-d2d0-46ed-b3cd-74e3b961d339" providerId="ADAL" clId="{1DAF9211-B634-44DE-9870-82F6FFA5893A}" dt="2019-09-01T01:09:41.914" v="4064" actId="113"/>
        <pc:sldMkLst>
          <pc:docMk/>
          <pc:sldMk cId="4041583724" sldId="8492"/>
        </pc:sldMkLst>
      </pc:sldChg>
      <pc:sldChg chg="del">
        <pc:chgData name="Matt Hall" userId="a534ab28-d2d0-46ed-b3cd-74e3b961d339" providerId="ADAL" clId="{1DAF9211-B634-44DE-9870-82F6FFA5893A}" dt="2019-09-01T00:15:11.334" v="1916" actId="47"/>
        <pc:sldMkLst>
          <pc:docMk/>
          <pc:sldMk cId="2690587178" sldId="8499"/>
        </pc:sldMkLst>
      </pc:sldChg>
      <pc:sldChg chg="del">
        <pc:chgData name="Matt Hall" userId="a534ab28-d2d0-46ed-b3cd-74e3b961d339" providerId="ADAL" clId="{1DAF9211-B634-44DE-9870-82F6FFA5893A}" dt="2019-09-01T00:15:15.860" v="1917" actId="47"/>
        <pc:sldMkLst>
          <pc:docMk/>
          <pc:sldMk cId="850305844" sldId="8528"/>
        </pc:sldMkLst>
      </pc:sldChg>
      <pc:sldChg chg="modSp mod setBg modNotesTx">
        <pc:chgData name="Matt Hall" userId="a534ab28-d2d0-46ed-b3cd-74e3b961d339" providerId="ADAL" clId="{1DAF9211-B634-44DE-9870-82F6FFA5893A}" dt="2019-09-01T01:05:51.368" v="3072" actId="113"/>
        <pc:sldMkLst>
          <pc:docMk/>
          <pc:sldMk cId="3282520782" sldId="8538"/>
        </pc:sldMkLst>
        <pc:spChg chg="mod">
          <ac:chgData name="Matt Hall" userId="a534ab28-d2d0-46ed-b3cd-74e3b961d339" providerId="ADAL" clId="{1DAF9211-B634-44DE-9870-82F6FFA5893A}" dt="2019-09-01T00:22:20.311" v="2324" actId="20577"/>
          <ac:spMkLst>
            <pc:docMk/>
            <pc:sldMk cId="3282520782" sldId="8538"/>
            <ac:spMk id="2" creationId="{B15B6A84-E49E-4EE1-A2E4-C80F20A6CCF5}"/>
          </ac:spMkLst>
        </pc:spChg>
        <pc:spChg chg="mod">
          <ac:chgData name="Matt Hall" userId="a534ab28-d2d0-46ed-b3cd-74e3b961d339" providerId="ADAL" clId="{1DAF9211-B634-44DE-9870-82F6FFA5893A}" dt="2019-09-01T00:21:31.393" v="2234" actId="207"/>
          <ac:spMkLst>
            <pc:docMk/>
            <pc:sldMk cId="3282520782" sldId="8538"/>
            <ac:spMk id="6" creationId="{B9D98155-4B7C-40B5-8F5B-512E40C21FC1}"/>
          </ac:spMkLst>
        </pc:spChg>
        <pc:spChg chg="mod">
          <ac:chgData name="Matt Hall" userId="a534ab28-d2d0-46ed-b3cd-74e3b961d339" providerId="ADAL" clId="{1DAF9211-B634-44DE-9870-82F6FFA5893A}" dt="2019-09-01T00:21:31.393" v="2234" actId="207"/>
          <ac:spMkLst>
            <pc:docMk/>
            <pc:sldMk cId="3282520782" sldId="8538"/>
            <ac:spMk id="7" creationId="{BEA5A9D5-3C4B-4DB1-B71B-70AB1FAD546E}"/>
          </ac:spMkLst>
        </pc:spChg>
        <pc:spChg chg="mod">
          <ac:chgData name="Matt Hall" userId="a534ab28-d2d0-46ed-b3cd-74e3b961d339" providerId="ADAL" clId="{1DAF9211-B634-44DE-9870-82F6FFA5893A}" dt="2019-09-01T00:21:31.393" v="2234" actId="207"/>
          <ac:spMkLst>
            <pc:docMk/>
            <pc:sldMk cId="3282520782" sldId="8538"/>
            <ac:spMk id="8" creationId="{63443591-0CD4-420C-BFE2-99C2FE3C8527}"/>
          </ac:spMkLst>
        </pc:spChg>
        <pc:spChg chg="mod">
          <ac:chgData name="Matt Hall" userId="a534ab28-d2d0-46ed-b3cd-74e3b961d339" providerId="ADAL" clId="{1DAF9211-B634-44DE-9870-82F6FFA5893A}" dt="2019-09-01T00:21:31.393" v="2234" actId="207"/>
          <ac:spMkLst>
            <pc:docMk/>
            <pc:sldMk cId="3282520782" sldId="8538"/>
            <ac:spMk id="9" creationId="{4E4ADBD4-BC15-40A7-B3AB-840884092D1F}"/>
          </ac:spMkLst>
        </pc:spChg>
        <pc:spChg chg="mod">
          <ac:chgData name="Matt Hall" userId="a534ab28-d2d0-46ed-b3cd-74e3b961d339" providerId="ADAL" clId="{1DAF9211-B634-44DE-9870-82F6FFA5893A}" dt="2019-09-01T00:21:36.060" v="2235" actId="207"/>
          <ac:spMkLst>
            <pc:docMk/>
            <pc:sldMk cId="3282520782" sldId="8538"/>
            <ac:spMk id="12" creationId="{AD0EF3FE-49E5-459C-A706-AFD85774D033}"/>
          </ac:spMkLst>
        </pc:spChg>
        <pc:spChg chg="mod">
          <ac:chgData name="Matt Hall" userId="a534ab28-d2d0-46ed-b3cd-74e3b961d339" providerId="ADAL" clId="{1DAF9211-B634-44DE-9870-82F6FFA5893A}" dt="2019-09-01T00:21:36.060" v="2235" actId="207"/>
          <ac:spMkLst>
            <pc:docMk/>
            <pc:sldMk cId="3282520782" sldId="8538"/>
            <ac:spMk id="13" creationId="{1AC5CF76-2427-48DB-8EDB-A68A1AC82214}"/>
          </ac:spMkLst>
        </pc:spChg>
        <pc:spChg chg="mod">
          <ac:chgData name="Matt Hall" userId="a534ab28-d2d0-46ed-b3cd-74e3b961d339" providerId="ADAL" clId="{1DAF9211-B634-44DE-9870-82F6FFA5893A}" dt="2019-09-01T00:21:36.060" v="2235" actId="207"/>
          <ac:spMkLst>
            <pc:docMk/>
            <pc:sldMk cId="3282520782" sldId="8538"/>
            <ac:spMk id="14" creationId="{EF507CCB-D615-491F-8EE4-D0D6F8965B69}"/>
          </ac:spMkLst>
        </pc:spChg>
        <pc:spChg chg="mod">
          <ac:chgData name="Matt Hall" userId="a534ab28-d2d0-46ed-b3cd-74e3b961d339" providerId="ADAL" clId="{1DAF9211-B634-44DE-9870-82F6FFA5893A}" dt="2019-09-01T00:21:39.208" v="2236" actId="207"/>
          <ac:spMkLst>
            <pc:docMk/>
            <pc:sldMk cId="3282520782" sldId="8538"/>
            <ac:spMk id="17" creationId="{16DEA925-F801-4993-91AE-1E001F03FE7F}"/>
          </ac:spMkLst>
        </pc:spChg>
        <pc:spChg chg="mod">
          <ac:chgData name="Matt Hall" userId="a534ab28-d2d0-46ed-b3cd-74e3b961d339" providerId="ADAL" clId="{1DAF9211-B634-44DE-9870-82F6FFA5893A}" dt="2019-09-01T00:21:39.208" v="2236" actId="207"/>
          <ac:spMkLst>
            <pc:docMk/>
            <pc:sldMk cId="3282520782" sldId="8538"/>
            <ac:spMk id="18" creationId="{5BB7D8E5-DC1A-49EE-979F-DBA450C244FE}"/>
          </ac:spMkLst>
        </pc:spChg>
        <pc:spChg chg="mod">
          <ac:chgData name="Matt Hall" userId="a534ab28-d2d0-46ed-b3cd-74e3b961d339" providerId="ADAL" clId="{1DAF9211-B634-44DE-9870-82F6FFA5893A}" dt="2019-09-01T00:21:56.620" v="2240" actId="207"/>
          <ac:spMkLst>
            <pc:docMk/>
            <pc:sldMk cId="3282520782" sldId="8538"/>
            <ac:spMk id="37" creationId="{90B73F17-C6B7-440D-979E-39E0F7E45A2B}"/>
          </ac:spMkLst>
        </pc:spChg>
        <pc:spChg chg="mod">
          <ac:chgData name="Matt Hall" userId="a534ab28-d2d0-46ed-b3cd-74e3b961d339" providerId="ADAL" clId="{1DAF9211-B634-44DE-9870-82F6FFA5893A}" dt="2019-09-01T00:21:52.184" v="2239" actId="207"/>
          <ac:spMkLst>
            <pc:docMk/>
            <pc:sldMk cId="3282520782" sldId="8538"/>
            <ac:spMk id="70" creationId="{E05D09FF-9A59-9849-A15B-E22E605D7E7C}"/>
          </ac:spMkLst>
        </pc:spChg>
        <pc:spChg chg="mod">
          <ac:chgData name="Matt Hall" userId="a534ab28-d2d0-46ed-b3cd-74e3b961d339" providerId="ADAL" clId="{1DAF9211-B634-44DE-9870-82F6FFA5893A}" dt="2019-09-01T00:21:48.978" v="2238" actId="207"/>
          <ac:spMkLst>
            <pc:docMk/>
            <pc:sldMk cId="3282520782" sldId="8538"/>
            <ac:spMk id="71" creationId="{E9772CA2-C01F-8443-A3CF-441FAA569594}"/>
          </ac:spMkLst>
        </pc:spChg>
        <pc:spChg chg="mod">
          <ac:chgData name="Matt Hall" userId="a534ab28-d2d0-46ed-b3cd-74e3b961d339" providerId="ADAL" clId="{1DAF9211-B634-44DE-9870-82F6FFA5893A}" dt="2019-09-01T00:21:45.332" v="2237" actId="207"/>
          <ac:spMkLst>
            <pc:docMk/>
            <pc:sldMk cId="3282520782" sldId="8538"/>
            <ac:spMk id="72" creationId="{58DDDAE2-10EF-CC40-A88E-6EA77E792C18}"/>
          </ac:spMkLst>
        </pc:spChg>
        <pc:grpChg chg="mod">
          <ac:chgData name="Matt Hall" userId="a534ab28-d2d0-46ed-b3cd-74e3b961d339" providerId="ADAL" clId="{1DAF9211-B634-44DE-9870-82F6FFA5893A}" dt="2019-09-01T00:21:31.393" v="2234" actId="207"/>
          <ac:grpSpMkLst>
            <pc:docMk/>
            <pc:sldMk cId="3282520782" sldId="8538"/>
            <ac:grpSpMk id="4" creationId="{36BF3490-E083-49B0-904A-DF5B673B2AF4}"/>
          </ac:grpSpMkLst>
        </pc:grpChg>
        <pc:grpChg chg="mod">
          <ac:chgData name="Matt Hall" userId="a534ab28-d2d0-46ed-b3cd-74e3b961d339" providerId="ADAL" clId="{1DAF9211-B634-44DE-9870-82F6FFA5893A}" dt="2019-09-01T00:21:36.060" v="2235" actId="207"/>
          <ac:grpSpMkLst>
            <pc:docMk/>
            <pc:sldMk cId="3282520782" sldId="8538"/>
            <ac:grpSpMk id="10" creationId="{F181E389-E18E-48E6-A91E-15FCC2998413}"/>
          </ac:grpSpMkLst>
        </pc:grpChg>
        <pc:grpChg chg="mod">
          <ac:chgData name="Matt Hall" userId="a534ab28-d2d0-46ed-b3cd-74e3b961d339" providerId="ADAL" clId="{1DAF9211-B634-44DE-9870-82F6FFA5893A}" dt="2019-09-01T00:21:39.208" v="2236" actId="207"/>
          <ac:grpSpMkLst>
            <pc:docMk/>
            <pc:sldMk cId="3282520782" sldId="8538"/>
            <ac:grpSpMk id="15" creationId="{B6D4644B-659B-46F5-A9B3-7D19601A2136}"/>
          </ac:grpSpMkLst>
        </pc:grpChg>
      </pc:sldChg>
      <pc:sldChg chg="ord modNotesTx">
        <pc:chgData name="Matt Hall" userId="a534ab28-d2d0-46ed-b3cd-74e3b961d339" providerId="ADAL" clId="{1DAF9211-B634-44DE-9870-82F6FFA5893A}" dt="2019-09-01T01:08:48.819" v="3859" actId="113"/>
        <pc:sldMkLst>
          <pc:docMk/>
          <pc:sldMk cId="237807472" sldId="9111"/>
        </pc:sldMkLst>
      </pc:sldChg>
      <pc:sldChg chg="modNotesTx">
        <pc:chgData name="Matt Hall" userId="a534ab28-d2d0-46ed-b3cd-74e3b961d339" providerId="ADAL" clId="{1DAF9211-B634-44DE-9870-82F6FFA5893A}" dt="2019-09-01T01:14:42.222" v="4900" actId="20577"/>
        <pc:sldMkLst>
          <pc:docMk/>
          <pc:sldMk cId="2789179100" sldId="9149"/>
        </pc:sldMkLst>
      </pc:sldChg>
      <pc:sldChg chg="modNotesTx">
        <pc:chgData name="Matt Hall" userId="a534ab28-d2d0-46ed-b3cd-74e3b961d339" providerId="ADAL" clId="{1DAF9211-B634-44DE-9870-82F6FFA5893A}" dt="2019-09-01T01:02:36.443" v="2460" actId="20577"/>
        <pc:sldMkLst>
          <pc:docMk/>
          <pc:sldMk cId="1218579518" sldId="10337"/>
        </pc:sldMkLst>
      </pc:sldChg>
      <pc:sldChg chg="del">
        <pc:chgData name="Matt Hall" userId="a534ab28-d2d0-46ed-b3cd-74e3b961d339" providerId="ADAL" clId="{1DAF9211-B634-44DE-9870-82F6FFA5893A}" dt="2019-09-01T00:15:02.689" v="1915" actId="47"/>
        <pc:sldMkLst>
          <pc:docMk/>
          <pc:sldMk cId="1156610088" sldId="10338"/>
        </pc:sldMkLst>
      </pc:sldChg>
      <pc:sldChg chg="modNotesTx">
        <pc:chgData name="Matt Hall" userId="a534ab28-d2d0-46ed-b3cd-74e3b961d339" providerId="ADAL" clId="{1DAF9211-B634-44DE-9870-82F6FFA5893A}" dt="2019-09-01T01:02:59.204" v="2492" actId="20577"/>
        <pc:sldMkLst>
          <pc:docMk/>
          <pc:sldMk cId="2648416496" sldId="2076135894"/>
        </pc:sldMkLst>
      </pc:sldChg>
      <pc:sldChg chg="del">
        <pc:chgData name="Matt Hall" userId="a534ab28-d2d0-46ed-b3cd-74e3b961d339" providerId="ADAL" clId="{1DAF9211-B634-44DE-9870-82F6FFA5893A}" dt="2019-09-01T00:14:53.892" v="1914" actId="47"/>
        <pc:sldMkLst>
          <pc:docMk/>
          <pc:sldMk cId="716805986" sldId="2076135931"/>
        </pc:sldMkLst>
      </pc:sldChg>
      <pc:sldChg chg="modSp ord modNotesTx">
        <pc:chgData name="Matt Hall" userId="a534ab28-d2d0-46ed-b3cd-74e3b961d339" providerId="ADAL" clId="{1DAF9211-B634-44DE-9870-82F6FFA5893A}" dt="2019-09-01T01:11:00.133" v="4356" actId="20577"/>
        <pc:sldMkLst>
          <pc:docMk/>
          <pc:sldMk cId="1983014689" sldId="2076135932"/>
        </pc:sldMkLst>
        <pc:spChg chg="mod">
          <ac:chgData name="Matt Hall" userId="a534ab28-d2d0-46ed-b3cd-74e3b961d339" providerId="ADAL" clId="{1DAF9211-B634-44DE-9870-82F6FFA5893A}" dt="2019-09-01T01:10:31.962" v="4227" actId="20577"/>
          <ac:spMkLst>
            <pc:docMk/>
            <pc:sldMk cId="1983014689" sldId="2076135932"/>
            <ac:spMk id="42" creationId="{8D09EA37-DE60-4E3D-9601-5E43A030E3C5}"/>
          </ac:spMkLst>
        </pc:spChg>
      </pc:sldChg>
      <pc:sldChg chg="modSp mod modNotesTx">
        <pc:chgData name="Matt Hall" userId="a534ab28-d2d0-46ed-b3cd-74e3b961d339" providerId="ADAL" clId="{1DAF9211-B634-44DE-9870-82F6FFA5893A}" dt="2019-09-01T01:09:24.158" v="3992" actId="113"/>
        <pc:sldMkLst>
          <pc:docMk/>
          <pc:sldMk cId="2691996748" sldId="2076135938"/>
        </pc:sldMkLst>
        <pc:spChg chg="mod">
          <ac:chgData name="Matt Hall" userId="a534ab28-d2d0-46ed-b3cd-74e3b961d339" providerId="ADAL" clId="{1DAF9211-B634-44DE-9870-82F6FFA5893A}" dt="2019-09-01T00:17:11.122" v="1976" actId="255"/>
          <ac:spMkLst>
            <pc:docMk/>
            <pc:sldMk cId="2691996748" sldId="2076135938"/>
            <ac:spMk id="6" creationId="{CEE18CAB-D1AA-440D-8BE6-B71B02C81E0A}"/>
          </ac:spMkLst>
        </pc:spChg>
      </pc:sldChg>
      <pc:sldChg chg="del">
        <pc:chgData name="Matt Hall" userId="a534ab28-d2d0-46ed-b3cd-74e3b961d339" providerId="ADAL" clId="{1DAF9211-B634-44DE-9870-82F6FFA5893A}" dt="2019-09-01T00:23:07.898" v="2330" actId="47"/>
        <pc:sldMkLst>
          <pc:docMk/>
          <pc:sldMk cId="1301462436" sldId="2076135966"/>
        </pc:sldMkLst>
      </pc:sldChg>
      <pc:sldChg chg="modSp mod modNotesTx">
        <pc:chgData name="Matt Hall" userId="a534ab28-d2d0-46ed-b3cd-74e3b961d339" providerId="ADAL" clId="{1DAF9211-B634-44DE-9870-82F6FFA5893A}" dt="2019-09-01T01:36:31.913" v="4903" actId="1076"/>
        <pc:sldMkLst>
          <pc:docMk/>
          <pc:sldMk cId="1912622331" sldId="2076135968"/>
        </pc:sldMkLst>
        <pc:spChg chg="mod">
          <ac:chgData name="Matt Hall" userId="a534ab28-d2d0-46ed-b3cd-74e3b961d339" providerId="ADAL" clId="{1DAF9211-B634-44DE-9870-82F6FFA5893A}" dt="2019-08-31T23:57:35.873" v="250" actId="14100"/>
          <ac:spMkLst>
            <pc:docMk/>
            <pc:sldMk cId="1912622331" sldId="2076135968"/>
            <ac:spMk id="3" creationId="{40EFED33-C114-4451-9205-0DD6234DA732}"/>
          </ac:spMkLst>
        </pc:spChg>
        <pc:spChg chg="mod">
          <ac:chgData name="Matt Hall" userId="a534ab28-d2d0-46ed-b3cd-74e3b961d339" providerId="ADAL" clId="{1DAF9211-B634-44DE-9870-82F6FFA5893A}" dt="2019-09-01T00:04:14.881" v="1324" actId="1076"/>
          <ac:spMkLst>
            <pc:docMk/>
            <pc:sldMk cId="1912622331" sldId="2076135968"/>
            <ac:spMk id="8" creationId="{00596C27-5687-4CC1-9015-1BBF36628FDD}"/>
          </ac:spMkLst>
        </pc:spChg>
        <pc:graphicFrameChg chg="mod modGraphic">
          <ac:chgData name="Matt Hall" userId="a534ab28-d2d0-46ed-b3cd-74e3b961d339" providerId="ADAL" clId="{1DAF9211-B634-44DE-9870-82F6FFA5893A}" dt="2019-09-01T01:36:31.913" v="4903" actId="1076"/>
          <ac:graphicFrameMkLst>
            <pc:docMk/>
            <pc:sldMk cId="1912622331" sldId="2076135968"/>
            <ac:graphicFrameMk id="6" creationId="{CD3DA1A2-6373-4AA8-A488-6DD33A2CCB58}"/>
          </ac:graphicFrameMkLst>
        </pc:graphicFrameChg>
        <pc:graphicFrameChg chg="modGraphic">
          <ac:chgData name="Matt Hall" userId="a534ab28-d2d0-46ed-b3cd-74e3b961d339" providerId="ADAL" clId="{1DAF9211-B634-44DE-9870-82F6FFA5893A}" dt="2019-09-01T00:01:37.893" v="826" actId="14734"/>
          <ac:graphicFrameMkLst>
            <pc:docMk/>
            <pc:sldMk cId="1912622331" sldId="2076135968"/>
            <ac:graphicFrameMk id="7" creationId="{00000000-0000-0000-0000-000000000000}"/>
          </ac:graphicFrameMkLst>
        </pc:graphicFrameChg>
      </pc:sldChg>
      <pc:sldChg chg="modSp mod modNotesTx">
        <pc:chgData name="Matt Hall" userId="a534ab28-d2d0-46ed-b3cd-74e3b961d339" providerId="ADAL" clId="{1DAF9211-B634-44DE-9870-82F6FFA5893A}" dt="2019-09-01T01:01:53.788" v="2339" actId="5793"/>
        <pc:sldMkLst>
          <pc:docMk/>
          <pc:sldMk cId="776579920" sldId="2076135969"/>
        </pc:sldMkLst>
        <pc:graphicFrameChg chg="mod modGraphic">
          <ac:chgData name="Matt Hall" userId="a534ab28-d2d0-46ed-b3cd-74e3b961d339" providerId="ADAL" clId="{1DAF9211-B634-44DE-9870-82F6FFA5893A}" dt="2019-09-01T00:07:06.016" v="1828" actId="2164"/>
          <ac:graphicFrameMkLst>
            <pc:docMk/>
            <pc:sldMk cId="776579920" sldId="2076135969"/>
            <ac:graphicFrameMk id="10" creationId="{BBC299A1-301D-4B69-A0F3-64C632FD3244}"/>
          </ac:graphicFrameMkLst>
        </pc:graphicFrameChg>
      </pc:sldChg>
      <pc:sldChg chg="modSp mod setBg modNotesTx">
        <pc:chgData name="Matt Hall" userId="a534ab28-d2d0-46ed-b3cd-74e3b961d339" providerId="ADAL" clId="{1DAF9211-B634-44DE-9870-82F6FFA5893A}" dt="2019-09-01T01:05:17.574" v="2951" actId="20577"/>
        <pc:sldMkLst>
          <pc:docMk/>
          <pc:sldMk cId="3180046679" sldId="2076135973"/>
        </pc:sldMkLst>
        <pc:spChg chg="mod">
          <ac:chgData name="Matt Hall" userId="a534ab28-d2d0-46ed-b3cd-74e3b961d339" providerId="ADAL" clId="{1DAF9211-B634-44DE-9870-82F6FFA5893A}" dt="2019-09-01T00:20:00.599" v="2229" actId="20577"/>
          <ac:spMkLst>
            <pc:docMk/>
            <pc:sldMk cId="3180046679" sldId="2076135973"/>
            <ac:spMk id="9" creationId="{72FE05EA-8B94-47C2-9ADA-94AB7A47E464}"/>
          </ac:spMkLst>
        </pc:spChg>
        <pc:spChg chg="mod">
          <ac:chgData name="Matt Hall" userId="a534ab28-d2d0-46ed-b3cd-74e3b961d339" providerId="ADAL" clId="{1DAF9211-B634-44DE-9870-82F6FFA5893A}" dt="2019-09-01T00:18:00.025" v="1979" actId="207"/>
          <ac:spMkLst>
            <pc:docMk/>
            <pc:sldMk cId="3180046679" sldId="2076135973"/>
            <ac:spMk id="16" creationId="{2D040DD7-4415-495F-B994-5D1DD2C8639E}"/>
          </ac:spMkLst>
        </pc:spChg>
        <pc:spChg chg="mod">
          <ac:chgData name="Matt Hall" userId="a534ab28-d2d0-46ed-b3cd-74e3b961d339" providerId="ADAL" clId="{1DAF9211-B634-44DE-9870-82F6FFA5893A}" dt="2019-09-01T00:18:00.025" v="1979" actId="207"/>
          <ac:spMkLst>
            <pc:docMk/>
            <pc:sldMk cId="3180046679" sldId="2076135973"/>
            <ac:spMk id="18" creationId="{7FC367E5-7613-4146-A5CD-0E165F63096C}"/>
          </ac:spMkLst>
        </pc:spChg>
        <pc:spChg chg="mod">
          <ac:chgData name="Matt Hall" userId="a534ab28-d2d0-46ed-b3cd-74e3b961d339" providerId="ADAL" clId="{1DAF9211-B634-44DE-9870-82F6FFA5893A}" dt="2019-09-01T00:18:00.025" v="1979" actId="207"/>
          <ac:spMkLst>
            <pc:docMk/>
            <pc:sldMk cId="3180046679" sldId="2076135973"/>
            <ac:spMk id="19" creationId="{16F87E6B-F57F-4AB6-BEBB-9CE87F28C8A7}"/>
          </ac:spMkLst>
        </pc:spChg>
        <pc:spChg chg="mod">
          <ac:chgData name="Matt Hall" userId="a534ab28-d2d0-46ed-b3cd-74e3b961d339" providerId="ADAL" clId="{1DAF9211-B634-44DE-9870-82F6FFA5893A}" dt="2019-09-01T00:19:08.820" v="1992" actId="207"/>
          <ac:spMkLst>
            <pc:docMk/>
            <pc:sldMk cId="3180046679" sldId="2076135973"/>
            <ac:spMk id="22" creationId="{941FDD36-19B0-455A-8496-7BD56B15FD0F}"/>
          </ac:spMkLst>
        </pc:spChg>
        <pc:spChg chg="mod">
          <ac:chgData name="Matt Hall" userId="a534ab28-d2d0-46ed-b3cd-74e3b961d339" providerId="ADAL" clId="{1DAF9211-B634-44DE-9870-82F6FFA5893A}" dt="2019-09-01T00:18:00.025" v="1979" actId="207"/>
          <ac:spMkLst>
            <pc:docMk/>
            <pc:sldMk cId="3180046679" sldId="2076135973"/>
            <ac:spMk id="29" creationId="{17EA6249-67E8-4E22-B85A-E3707FB36948}"/>
          </ac:spMkLst>
        </pc:spChg>
        <pc:spChg chg="mod">
          <ac:chgData name="Matt Hall" userId="a534ab28-d2d0-46ed-b3cd-74e3b961d339" providerId="ADAL" clId="{1DAF9211-B634-44DE-9870-82F6FFA5893A}" dt="2019-09-01T00:18:00.025" v="1979" actId="207"/>
          <ac:spMkLst>
            <pc:docMk/>
            <pc:sldMk cId="3180046679" sldId="2076135973"/>
            <ac:spMk id="30" creationId="{949CE038-9E8D-4C8F-8C16-E7CFCD5D8A07}"/>
          </ac:spMkLst>
        </pc:spChg>
        <pc:spChg chg="mod">
          <ac:chgData name="Matt Hall" userId="a534ab28-d2d0-46ed-b3cd-74e3b961d339" providerId="ADAL" clId="{1DAF9211-B634-44DE-9870-82F6FFA5893A}" dt="2019-09-01T00:18:20.125" v="1981" actId="207"/>
          <ac:spMkLst>
            <pc:docMk/>
            <pc:sldMk cId="3180046679" sldId="2076135973"/>
            <ac:spMk id="31" creationId="{DD8A9A14-7B04-47EC-80B9-DA73A407E60D}"/>
          </ac:spMkLst>
        </pc:spChg>
        <pc:spChg chg="mod">
          <ac:chgData name="Matt Hall" userId="a534ab28-d2d0-46ed-b3cd-74e3b961d339" providerId="ADAL" clId="{1DAF9211-B634-44DE-9870-82F6FFA5893A}" dt="2019-09-01T00:18:23.151" v="1982" actId="207"/>
          <ac:spMkLst>
            <pc:docMk/>
            <pc:sldMk cId="3180046679" sldId="2076135973"/>
            <ac:spMk id="32" creationId="{E76ADCA2-D3D1-4C8E-A80F-EB9FD03E19DB}"/>
          </ac:spMkLst>
        </pc:spChg>
        <pc:spChg chg="mod">
          <ac:chgData name="Matt Hall" userId="a534ab28-d2d0-46ed-b3cd-74e3b961d339" providerId="ADAL" clId="{1DAF9211-B634-44DE-9870-82F6FFA5893A}" dt="2019-09-01T00:18:25.614" v="1983" actId="207"/>
          <ac:spMkLst>
            <pc:docMk/>
            <pc:sldMk cId="3180046679" sldId="2076135973"/>
            <ac:spMk id="33" creationId="{1BBE6F9F-075A-4F5F-8C4E-22C6DA6D4502}"/>
          </ac:spMkLst>
        </pc:spChg>
        <pc:spChg chg="mod">
          <ac:chgData name="Matt Hall" userId="a534ab28-d2d0-46ed-b3cd-74e3b961d339" providerId="ADAL" clId="{1DAF9211-B634-44DE-9870-82F6FFA5893A}" dt="2019-09-01T00:19:03.711" v="1991" actId="207"/>
          <ac:spMkLst>
            <pc:docMk/>
            <pc:sldMk cId="3180046679" sldId="2076135973"/>
            <ac:spMk id="34" creationId="{AB4DF955-36FA-44D7-A26B-CDD2BE2D15EA}"/>
          </ac:spMkLst>
        </pc:spChg>
        <pc:spChg chg="mod">
          <ac:chgData name="Matt Hall" userId="a534ab28-d2d0-46ed-b3cd-74e3b961d339" providerId="ADAL" clId="{1DAF9211-B634-44DE-9870-82F6FFA5893A}" dt="2019-09-01T00:19:00.545" v="1990" actId="207"/>
          <ac:spMkLst>
            <pc:docMk/>
            <pc:sldMk cId="3180046679" sldId="2076135973"/>
            <ac:spMk id="35" creationId="{B2C36419-DE63-4AD6-8ED0-2ADEF0D4B690}"/>
          </ac:spMkLst>
        </pc:spChg>
        <pc:spChg chg="mod">
          <ac:chgData name="Matt Hall" userId="a534ab28-d2d0-46ed-b3cd-74e3b961d339" providerId="ADAL" clId="{1DAF9211-B634-44DE-9870-82F6FFA5893A}" dt="2019-09-01T00:18:53.814" v="1989" actId="207"/>
          <ac:spMkLst>
            <pc:docMk/>
            <pc:sldMk cId="3180046679" sldId="2076135973"/>
            <ac:spMk id="37" creationId="{514B816D-B624-4E0C-A2F3-AA1543ED8B52}"/>
          </ac:spMkLst>
        </pc:spChg>
        <pc:spChg chg="mod">
          <ac:chgData name="Matt Hall" userId="a534ab28-d2d0-46ed-b3cd-74e3b961d339" providerId="ADAL" clId="{1DAF9211-B634-44DE-9870-82F6FFA5893A}" dt="2019-09-01T00:18:44.585" v="1988" actId="207"/>
          <ac:spMkLst>
            <pc:docMk/>
            <pc:sldMk cId="3180046679" sldId="2076135973"/>
            <ac:spMk id="38" creationId="{5885B529-B162-4A05-87F8-F90F3C678901}"/>
          </ac:spMkLst>
        </pc:spChg>
        <pc:spChg chg="mod">
          <ac:chgData name="Matt Hall" userId="a534ab28-d2d0-46ed-b3cd-74e3b961d339" providerId="ADAL" clId="{1DAF9211-B634-44DE-9870-82F6FFA5893A}" dt="2019-09-01T00:18:40.110" v="1987" actId="207"/>
          <ac:spMkLst>
            <pc:docMk/>
            <pc:sldMk cId="3180046679" sldId="2076135973"/>
            <ac:spMk id="40" creationId="{EF89DCBE-5F24-4E79-87D3-7D038CE7CA03}"/>
          </ac:spMkLst>
        </pc:spChg>
        <pc:spChg chg="mod">
          <ac:chgData name="Matt Hall" userId="a534ab28-d2d0-46ed-b3cd-74e3b961d339" providerId="ADAL" clId="{1DAF9211-B634-44DE-9870-82F6FFA5893A}" dt="2019-09-01T00:18:35.851" v="1986" actId="207"/>
          <ac:spMkLst>
            <pc:docMk/>
            <pc:sldMk cId="3180046679" sldId="2076135973"/>
            <ac:spMk id="43" creationId="{B6134F2E-E3D3-4224-A856-BAC0716A072D}"/>
          </ac:spMkLst>
        </pc:spChg>
        <pc:spChg chg="mod">
          <ac:chgData name="Matt Hall" userId="a534ab28-d2d0-46ed-b3cd-74e3b961d339" providerId="ADAL" clId="{1DAF9211-B634-44DE-9870-82F6FFA5893A}" dt="2019-09-01T00:18:30.939" v="1985" actId="207"/>
          <ac:spMkLst>
            <pc:docMk/>
            <pc:sldMk cId="3180046679" sldId="2076135973"/>
            <ac:spMk id="50" creationId="{B583D2AE-1AAC-40EB-B3ED-85CD96FE9AD4}"/>
          </ac:spMkLst>
        </pc:spChg>
        <pc:spChg chg="mod">
          <ac:chgData name="Matt Hall" userId="a534ab28-d2d0-46ed-b3cd-74e3b961d339" providerId="ADAL" clId="{1DAF9211-B634-44DE-9870-82F6FFA5893A}" dt="2019-09-01T00:18:30.939" v="1985" actId="207"/>
          <ac:spMkLst>
            <pc:docMk/>
            <pc:sldMk cId="3180046679" sldId="2076135973"/>
            <ac:spMk id="51" creationId="{69C2F183-3563-47E5-848D-6A29516BC80E}"/>
          </ac:spMkLst>
        </pc:spChg>
        <pc:spChg chg="mod">
          <ac:chgData name="Matt Hall" userId="a534ab28-d2d0-46ed-b3cd-74e3b961d339" providerId="ADAL" clId="{1DAF9211-B634-44DE-9870-82F6FFA5893A}" dt="2019-09-01T00:18:30.939" v="1985" actId="207"/>
          <ac:spMkLst>
            <pc:docMk/>
            <pc:sldMk cId="3180046679" sldId="2076135973"/>
            <ac:spMk id="52" creationId="{9E511393-C26A-400A-B322-545A10BE7645}"/>
          </ac:spMkLst>
        </pc:spChg>
        <pc:spChg chg="mod">
          <ac:chgData name="Matt Hall" userId="a534ab28-d2d0-46ed-b3cd-74e3b961d339" providerId="ADAL" clId="{1DAF9211-B634-44DE-9870-82F6FFA5893A}" dt="2019-09-01T00:18:30.939" v="1985" actId="207"/>
          <ac:spMkLst>
            <pc:docMk/>
            <pc:sldMk cId="3180046679" sldId="2076135973"/>
            <ac:spMk id="53" creationId="{8B5E7B19-3692-4ADD-A39E-E5ED028AEF68}"/>
          </ac:spMkLst>
        </pc:spChg>
        <pc:spChg chg="mod">
          <ac:chgData name="Matt Hall" userId="a534ab28-d2d0-46ed-b3cd-74e3b961d339" providerId="ADAL" clId="{1DAF9211-B634-44DE-9870-82F6FFA5893A}" dt="2019-09-01T00:18:00.025" v="1979" actId="207"/>
          <ac:spMkLst>
            <pc:docMk/>
            <pc:sldMk cId="3180046679" sldId="2076135973"/>
            <ac:spMk id="54" creationId="{4111741A-664C-40F5-A5C1-B4C1C411E6E6}"/>
          </ac:spMkLst>
        </pc:spChg>
        <pc:grpChg chg="mod">
          <ac:chgData name="Matt Hall" userId="a534ab28-d2d0-46ed-b3cd-74e3b961d339" providerId="ADAL" clId="{1DAF9211-B634-44DE-9870-82F6FFA5893A}" dt="2019-09-01T00:18:30.939" v="1985" actId="207"/>
          <ac:grpSpMkLst>
            <pc:docMk/>
            <pc:sldMk cId="3180046679" sldId="2076135973"/>
            <ac:grpSpMk id="49" creationId="{7DCF5755-77CC-483F-BB9B-FCD7730B0B9F}"/>
          </ac:grpSpMkLst>
        </pc:grpChg>
      </pc:sldChg>
      <pc:sldChg chg="modSp mod setBg modNotesTx">
        <pc:chgData name="Matt Hall" userId="a534ab28-d2d0-46ed-b3cd-74e3b961d339" providerId="ADAL" clId="{1DAF9211-B634-44DE-9870-82F6FFA5893A}" dt="2019-09-01T01:08:53.508" v="3860" actId="113"/>
        <pc:sldMkLst>
          <pc:docMk/>
          <pc:sldMk cId="4171621451" sldId="2076135980"/>
        </pc:sldMkLst>
        <pc:spChg chg="mod">
          <ac:chgData name="Matt Hall" userId="a534ab28-d2d0-46ed-b3cd-74e3b961d339" providerId="ADAL" clId="{1DAF9211-B634-44DE-9870-82F6FFA5893A}" dt="2019-09-01T00:22:58.592" v="2328" actId="207"/>
          <ac:spMkLst>
            <pc:docMk/>
            <pc:sldMk cId="4171621451" sldId="2076135980"/>
            <ac:spMk id="22" creationId="{BAC2FA93-173A-4EBD-9F59-622AD6A13940}"/>
          </ac:spMkLst>
        </pc:spChg>
        <pc:spChg chg="mod">
          <ac:chgData name="Matt Hall" userId="a534ab28-d2d0-46ed-b3cd-74e3b961d339" providerId="ADAL" clId="{1DAF9211-B634-44DE-9870-82F6FFA5893A}" dt="2019-09-01T00:22:58.592" v="2328" actId="207"/>
          <ac:spMkLst>
            <pc:docMk/>
            <pc:sldMk cId="4171621451" sldId="2076135980"/>
            <ac:spMk id="23" creationId="{7B744430-EFC2-4072-A29A-0D62719A784F}"/>
          </ac:spMkLst>
        </pc:spChg>
        <pc:spChg chg="mod">
          <ac:chgData name="Matt Hall" userId="a534ab28-d2d0-46ed-b3cd-74e3b961d339" providerId="ADAL" clId="{1DAF9211-B634-44DE-9870-82F6FFA5893A}" dt="2019-09-01T00:22:58.592" v="2328" actId="207"/>
          <ac:spMkLst>
            <pc:docMk/>
            <pc:sldMk cId="4171621451" sldId="2076135980"/>
            <ac:spMk id="25" creationId="{5627C351-0532-43CA-96CF-4B42557F994D}"/>
          </ac:spMkLst>
        </pc:spChg>
        <pc:spChg chg="mod">
          <ac:chgData name="Matt Hall" userId="a534ab28-d2d0-46ed-b3cd-74e3b961d339" providerId="ADAL" clId="{1DAF9211-B634-44DE-9870-82F6FFA5893A}" dt="2019-09-01T00:22:58.592" v="2328" actId="207"/>
          <ac:spMkLst>
            <pc:docMk/>
            <pc:sldMk cId="4171621451" sldId="2076135980"/>
            <ac:spMk id="27" creationId="{AEF14B21-1B67-452C-9B11-60163154D936}"/>
          </ac:spMkLst>
        </pc:spChg>
        <pc:spChg chg="mod">
          <ac:chgData name="Matt Hall" userId="a534ab28-d2d0-46ed-b3cd-74e3b961d339" providerId="ADAL" clId="{1DAF9211-B634-44DE-9870-82F6FFA5893A}" dt="2019-09-01T00:22:50.789" v="2327" actId="207"/>
          <ac:spMkLst>
            <pc:docMk/>
            <pc:sldMk cId="4171621451" sldId="2076135980"/>
            <ac:spMk id="38" creationId="{9664A62B-E114-4E9B-A4D4-7A0441DA84D3}"/>
          </ac:spMkLst>
        </pc:spChg>
      </pc:sldChg>
      <pc:sldMasterChg chg="delSldLayout">
        <pc:chgData name="Matt Hall" userId="a534ab28-d2d0-46ed-b3cd-74e3b961d339" providerId="ADAL" clId="{1DAF9211-B634-44DE-9870-82F6FFA5893A}" dt="2019-09-01T00:15:11.334" v="1916" actId="47"/>
        <pc:sldMasterMkLst>
          <pc:docMk/>
          <pc:sldMasterMk cId="2716292929" sldId="2147484500"/>
        </pc:sldMasterMkLst>
        <pc:sldLayoutChg chg="del">
          <pc:chgData name="Matt Hall" userId="a534ab28-d2d0-46ed-b3cd-74e3b961d339" providerId="ADAL" clId="{1DAF9211-B634-44DE-9870-82F6FFA5893A}" dt="2019-09-01T00:15:11.334" v="1916" actId="47"/>
          <pc:sldLayoutMkLst>
            <pc:docMk/>
            <pc:sldMasterMk cId="2716292929" sldId="2147484500"/>
            <pc:sldLayoutMk cId="2458383047" sldId="2147484600"/>
          </pc:sldLayoutMkLst>
        </pc:sldLayoutChg>
      </pc:sldMasterChg>
    </pc:docChg>
  </pc:docChgLst>
  <pc:docChgLst>
    <pc:chgData name="Paul Wilcox" userId="be6daff017ddb434" providerId="LiveId" clId="{7F08C6DC-43ED-4AA6-8586-87C9EC5D9B16}"/>
    <pc:docChg chg="modSld">
      <pc:chgData name="Paul Wilcox" userId="be6daff017ddb434" providerId="LiveId" clId="{7F08C6DC-43ED-4AA6-8586-87C9EC5D9B16}" dt="2019-06-27T20:59:47.471" v="11" actId="113"/>
      <pc:docMkLst>
        <pc:docMk/>
      </pc:docMkLst>
      <pc:sldChg chg="modSp">
        <pc:chgData name="Paul Wilcox" userId="be6daff017ddb434" providerId="LiveId" clId="{7F08C6DC-43ED-4AA6-8586-87C9EC5D9B16}" dt="2019-06-27T20:59:47.471" v="11" actId="113"/>
        <pc:sldMkLst>
          <pc:docMk/>
          <pc:sldMk cId="2691996748" sldId="2076135938"/>
        </pc:sldMkLst>
        <pc:spChg chg="mod">
          <ac:chgData name="Paul Wilcox" userId="be6daff017ddb434" providerId="LiveId" clId="{7F08C6DC-43ED-4AA6-8586-87C9EC5D9B16}" dt="2019-06-27T20:59:47.471" v="11" actId="113"/>
          <ac:spMkLst>
            <pc:docMk/>
            <pc:sldMk cId="2691996748" sldId="2076135938"/>
            <ac:spMk id="10" creationId="{E52A872D-B796-44FB-9402-12E437053974}"/>
          </ac:spMkLst>
        </pc:spChg>
        <pc:spChg chg="mod">
          <ac:chgData name="Paul Wilcox" userId="be6daff017ddb434" providerId="LiveId" clId="{7F08C6DC-43ED-4AA6-8586-87C9EC5D9B16}" dt="2019-06-27T20:58:41.913" v="8" actId="2711"/>
          <ac:spMkLst>
            <pc:docMk/>
            <pc:sldMk cId="2691996748" sldId="2076135938"/>
            <ac:spMk id="12" creationId="{466B8569-AF68-4705-8780-7D9D9F8C87DB}"/>
          </ac:spMkLst>
        </pc:spChg>
        <pc:spChg chg="mod">
          <ac:chgData name="Paul Wilcox" userId="be6daff017ddb434" providerId="LiveId" clId="{7F08C6DC-43ED-4AA6-8586-87C9EC5D9B16}" dt="2019-06-27T20:58:47.354" v="9" actId="14100"/>
          <ac:spMkLst>
            <pc:docMk/>
            <pc:sldMk cId="2691996748" sldId="2076135938"/>
            <ac:spMk id="13" creationId="{2E0B75B4-596A-4D5A-9838-105176E0CD14}"/>
          </ac:spMkLst>
        </pc:spChg>
      </pc:sldChg>
      <pc:sldChg chg="modSp">
        <pc:chgData name="Paul Wilcox" userId="be6daff017ddb434" providerId="LiveId" clId="{7F08C6DC-43ED-4AA6-8586-87C9EC5D9B16}" dt="2019-06-27T20:57:55.388" v="5" actId="14861"/>
        <pc:sldMkLst>
          <pc:docMk/>
          <pc:sldMk cId="1301462436" sldId="2076135966"/>
        </pc:sldMkLst>
        <pc:picChg chg="mod">
          <ac:chgData name="Paul Wilcox" userId="be6daff017ddb434" providerId="LiveId" clId="{7F08C6DC-43ED-4AA6-8586-87C9EC5D9B16}" dt="2019-06-27T20:57:55.388" v="5" actId="14861"/>
          <ac:picMkLst>
            <pc:docMk/>
            <pc:sldMk cId="1301462436" sldId="2076135966"/>
            <ac:picMk id="57" creationId="{9DA5E9C3-AD9A-4894-B864-C50C316FED26}"/>
          </ac:picMkLst>
        </pc:picChg>
        <pc:picChg chg="mod">
          <ac:chgData name="Paul Wilcox" userId="be6daff017ddb434" providerId="LiveId" clId="{7F08C6DC-43ED-4AA6-8586-87C9EC5D9B16}" dt="2019-06-27T20:57:55.388" v="5" actId="14861"/>
          <ac:picMkLst>
            <pc:docMk/>
            <pc:sldMk cId="1301462436" sldId="2076135966"/>
            <ac:picMk id="59" creationId="{2705D32B-912A-4079-A49D-FB1D9B67243F}"/>
          </ac:picMkLst>
        </pc:picChg>
        <pc:picChg chg="mod">
          <ac:chgData name="Paul Wilcox" userId="be6daff017ddb434" providerId="LiveId" clId="{7F08C6DC-43ED-4AA6-8586-87C9EC5D9B16}" dt="2019-06-27T20:57:32.205" v="1" actId="14861"/>
          <ac:picMkLst>
            <pc:docMk/>
            <pc:sldMk cId="1301462436" sldId="2076135966"/>
            <ac:picMk id="88" creationId="{EF8B2021-23B7-431C-B582-5C6AF061CA20}"/>
          </ac:picMkLst>
        </pc:picChg>
        <pc:picChg chg="mod">
          <ac:chgData name="Paul Wilcox" userId="be6daff017ddb434" providerId="LiveId" clId="{7F08C6DC-43ED-4AA6-8586-87C9EC5D9B16}" dt="2019-06-27T20:57:47.865" v="3"/>
          <ac:picMkLst>
            <pc:docMk/>
            <pc:sldMk cId="1301462436" sldId="2076135966"/>
            <ac:picMk id="93" creationId="{DD9B6100-8193-4261-9E58-07A6D5F2F37C}"/>
          </ac:picMkLst>
        </pc:picChg>
        <pc:picChg chg="mod">
          <ac:chgData name="Paul Wilcox" userId="be6daff017ddb434" providerId="LiveId" clId="{7F08C6DC-43ED-4AA6-8586-87C9EC5D9B16}" dt="2019-06-27T20:57:44.240" v="2"/>
          <ac:picMkLst>
            <pc:docMk/>
            <pc:sldMk cId="1301462436" sldId="2076135966"/>
            <ac:picMk id="94" creationId="{B186FB99-9C6D-4770-96DB-7C907FF352F1}"/>
          </ac:picMkLst>
        </pc:picChg>
        <pc:picChg chg="mod">
          <ac:chgData name="Paul Wilcox" userId="be6daff017ddb434" providerId="LiveId" clId="{7F08C6DC-43ED-4AA6-8586-87C9EC5D9B16}" dt="2019-06-27T20:57:32.205" v="1" actId="14861"/>
          <ac:picMkLst>
            <pc:docMk/>
            <pc:sldMk cId="1301462436" sldId="2076135966"/>
            <ac:picMk id="106" creationId="{74ABA099-BDA4-4D1F-8D87-18CB87C8C1AF}"/>
          </ac:picMkLst>
        </pc:picChg>
        <pc:picChg chg="mod">
          <ac:chgData name="Paul Wilcox" userId="be6daff017ddb434" providerId="LiveId" clId="{7F08C6DC-43ED-4AA6-8586-87C9EC5D9B16}" dt="2019-06-27T20:57:32.205" v="1" actId="14861"/>
          <ac:picMkLst>
            <pc:docMk/>
            <pc:sldMk cId="1301462436" sldId="2076135966"/>
            <ac:picMk id="107" creationId="{08FA41FB-7BA2-4D57-9C71-F52E57FA7991}"/>
          </ac:picMkLst>
        </pc:picChg>
        <pc:picChg chg="mod">
          <ac:chgData name="Paul Wilcox" userId="be6daff017ddb434" providerId="LiveId" clId="{7F08C6DC-43ED-4AA6-8586-87C9EC5D9B16}" dt="2019-06-27T20:57:32.205" v="1" actId="14861"/>
          <ac:picMkLst>
            <pc:docMk/>
            <pc:sldMk cId="1301462436" sldId="2076135966"/>
            <ac:picMk id="109" creationId="{90DFA906-11E4-4678-A9EF-9170F0536117}"/>
          </ac:picMkLst>
        </pc:picChg>
        <pc:picChg chg="mod">
          <ac:chgData name="Paul Wilcox" userId="be6daff017ddb434" providerId="LiveId" clId="{7F08C6DC-43ED-4AA6-8586-87C9EC5D9B16}" dt="2019-06-27T20:57:32.205" v="1" actId="14861"/>
          <ac:picMkLst>
            <pc:docMk/>
            <pc:sldMk cId="1301462436" sldId="2076135966"/>
            <ac:picMk id="110" creationId="{97325310-6FD2-44A4-A99A-D8B743D2B247}"/>
          </ac:picMkLst>
        </pc:picChg>
      </pc:sldChg>
    </pc:docChg>
  </pc:docChgLst>
  <pc:docChgLst>
    <pc:chgData name="Peter Selch Dahl" userId="2a8ce412-a5f6-41ff-9f56-c9e5c014459a" providerId="ADAL" clId="{48BBFCFD-80E5-4CD1-AABD-CE021F788FB0}"/>
    <pc:docChg chg="delSld modSld delSection modSection">
      <pc:chgData name="Peter Selch Dahl" userId="2a8ce412-a5f6-41ff-9f56-c9e5c014459a" providerId="ADAL" clId="{48BBFCFD-80E5-4CD1-AABD-CE021F788FB0}" dt="2020-01-22T04:35:12.873" v="24" actId="2696"/>
      <pc:docMkLst>
        <pc:docMk/>
      </pc:docMkLst>
      <pc:sldChg chg="modSp">
        <pc:chgData name="Peter Selch Dahl" userId="2a8ce412-a5f6-41ff-9f56-c9e5c014459a" providerId="ADAL" clId="{48BBFCFD-80E5-4CD1-AABD-CE021F788FB0}" dt="2020-01-22T04:34:34.376" v="3" actId="20577"/>
        <pc:sldMkLst>
          <pc:docMk/>
          <pc:sldMk cId="4163658541" sldId="302"/>
        </pc:sldMkLst>
        <pc:spChg chg="mod">
          <ac:chgData name="Peter Selch Dahl" userId="2a8ce412-a5f6-41ff-9f56-c9e5c014459a" providerId="ADAL" clId="{48BBFCFD-80E5-4CD1-AABD-CE021F788FB0}" dt="2020-01-22T04:34:34.376" v="3" actId="20577"/>
          <ac:spMkLst>
            <pc:docMk/>
            <pc:sldMk cId="4163658541" sldId="302"/>
            <ac:spMk id="2" creationId="{8EC99C92-DC83-4B0C-8761-558598302812}"/>
          </ac:spMkLst>
        </pc:spChg>
      </pc:sldChg>
      <pc:sldChg chg="del">
        <pc:chgData name="Peter Selch Dahl" userId="2a8ce412-a5f6-41ff-9f56-c9e5c014459a" providerId="ADAL" clId="{48BBFCFD-80E5-4CD1-AABD-CE021F788FB0}" dt="2020-01-22T04:35:09.174" v="20" actId="2696"/>
        <pc:sldMkLst>
          <pc:docMk/>
          <pc:sldMk cId="3933005780" sldId="1820"/>
        </pc:sldMkLst>
      </pc:sldChg>
      <pc:sldChg chg="del">
        <pc:chgData name="Peter Selch Dahl" userId="2a8ce412-a5f6-41ff-9f56-c9e5c014459a" providerId="ADAL" clId="{48BBFCFD-80E5-4CD1-AABD-CE021F788FB0}" dt="2020-01-22T04:35:02.735" v="7" actId="2696"/>
        <pc:sldMkLst>
          <pc:docMk/>
          <pc:sldMk cId="2696617632" sldId="1988"/>
        </pc:sldMkLst>
      </pc:sldChg>
      <pc:sldChg chg="del">
        <pc:chgData name="Peter Selch Dahl" userId="2a8ce412-a5f6-41ff-9f56-c9e5c014459a" providerId="ADAL" clId="{48BBFCFD-80E5-4CD1-AABD-CE021F788FB0}" dt="2020-01-22T04:35:02.752" v="8" actId="2696"/>
        <pc:sldMkLst>
          <pc:docMk/>
          <pc:sldMk cId="1506082875" sldId="1991"/>
        </pc:sldMkLst>
      </pc:sldChg>
      <pc:sldChg chg="del">
        <pc:chgData name="Peter Selch Dahl" userId="2a8ce412-a5f6-41ff-9f56-c9e5c014459a" providerId="ADAL" clId="{48BBFCFD-80E5-4CD1-AABD-CE021F788FB0}" dt="2020-01-22T04:35:09.225" v="21" actId="2696"/>
        <pc:sldMkLst>
          <pc:docMk/>
          <pc:sldMk cId="2438233783" sldId="1997"/>
        </pc:sldMkLst>
      </pc:sldChg>
      <pc:sldChg chg="del">
        <pc:chgData name="Peter Selch Dahl" userId="2a8ce412-a5f6-41ff-9f56-c9e5c014459a" providerId="ADAL" clId="{48BBFCFD-80E5-4CD1-AABD-CE021F788FB0}" dt="2020-01-22T04:35:02.708" v="6" actId="2696"/>
        <pc:sldMkLst>
          <pc:docMk/>
          <pc:sldMk cId="3697854501" sldId="2003"/>
        </pc:sldMkLst>
      </pc:sldChg>
      <pc:sldChg chg="del">
        <pc:chgData name="Peter Selch Dahl" userId="2a8ce412-a5f6-41ff-9f56-c9e5c014459a" providerId="ADAL" clId="{48BBFCFD-80E5-4CD1-AABD-CE021F788FB0}" dt="2020-01-22T04:35:02.807" v="10" actId="2696"/>
        <pc:sldMkLst>
          <pc:docMk/>
          <pc:sldMk cId="3274208606" sldId="2019"/>
        </pc:sldMkLst>
      </pc:sldChg>
      <pc:sldChg chg="del">
        <pc:chgData name="Peter Selch Dahl" userId="2a8ce412-a5f6-41ff-9f56-c9e5c014459a" providerId="ADAL" clId="{48BBFCFD-80E5-4CD1-AABD-CE021F788FB0}" dt="2020-01-22T04:35:09.265" v="22" actId="2696"/>
        <pc:sldMkLst>
          <pc:docMk/>
          <pc:sldMk cId="64174571" sldId="3910"/>
        </pc:sldMkLst>
      </pc:sldChg>
      <pc:sldChg chg="del">
        <pc:chgData name="Peter Selch Dahl" userId="2a8ce412-a5f6-41ff-9f56-c9e5c014459a" providerId="ADAL" clId="{48BBFCFD-80E5-4CD1-AABD-CE021F788FB0}" dt="2020-01-22T04:35:12.873" v="24" actId="2696"/>
        <pc:sldMkLst>
          <pc:docMk/>
          <pc:sldMk cId="826833978" sldId="2076135989"/>
        </pc:sldMkLst>
      </pc:sldChg>
      <pc:sldChg chg="del">
        <pc:chgData name="Peter Selch Dahl" userId="2a8ce412-a5f6-41ff-9f56-c9e5c014459a" providerId="ADAL" clId="{48BBFCFD-80E5-4CD1-AABD-CE021F788FB0}" dt="2020-01-22T04:35:05.472" v="12" actId="2696"/>
        <pc:sldMkLst>
          <pc:docMk/>
          <pc:sldMk cId="4218722223" sldId="2076136500"/>
        </pc:sldMkLst>
      </pc:sldChg>
      <pc:sldChg chg="del">
        <pc:chgData name="Peter Selch Dahl" userId="2a8ce412-a5f6-41ff-9f56-c9e5c014459a" providerId="ADAL" clId="{48BBFCFD-80E5-4CD1-AABD-CE021F788FB0}" dt="2020-01-22T04:35:05.509" v="13" actId="2696"/>
        <pc:sldMkLst>
          <pc:docMk/>
          <pc:sldMk cId="1469031802" sldId="2076136501"/>
        </pc:sldMkLst>
      </pc:sldChg>
      <pc:sldChg chg="del">
        <pc:chgData name="Peter Selch Dahl" userId="2a8ce412-a5f6-41ff-9f56-c9e5c014459a" providerId="ADAL" clId="{48BBFCFD-80E5-4CD1-AABD-CE021F788FB0}" dt="2020-01-22T04:35:05.564" v="14" actId="2696"/>
        <pc:sldMkLst>
          <pc:docMk/>
          <pc:sldMk cId="1997703635" sldId="2076136502"/>
        </pc:sldMkLst>
      </pc:sldChg>
      <pc:sldChg chg="del">
        <pc:chgData name="Peter Selch Dahl" userId="2a8ce412-a5f6-41ff-9f56-c9e5c014459a" providerId="ADAL" clId="{48BBFCFD-80E5-4CD1-AABD-CE021F788FB0}" dt="2020-01-22T04:35:07.864" v="17" actId="2696"/>
        <pc:sldMkLst>
          <pc:docMk/>
          <pc:sldMk cId="2456398770" sldId="2076136503"/>
        </pc:sldMkLst>
      </pc:sldChg>
      <pc:sldChg chg="del">
        <pc:chgData name="Peter Selch Dahl" userId="2a8ce412-a5f6-41ff-9f56-c9e5c014459a" providerId="ADAL" clId="{48BBFCFD-80E5-4CD1-AABD-CE021F788FB0}" dt="2020-01-22T04:35:07.893" v="18" actId="2696"/>
        <pc:sldMkLst>
          <pc:docMk/>
          <pc:sldMk cId="688207886" sldId="2076136504"/>
        </pc:sldMkLst>
      </pc:sldChg>
      <pc:sldChg chg="del">
        <pc:chgData name="Peter Selch Dahl" userId="2a8ce412-a5f6-41ff-9f56-c9e5c014459a" providerId="ADAL" clId="{48BBFCFD-80E5-4CD1-AABD-CE021F788FB0}" dt="2020-01-22T04:35:05.584" v="15" actId="2696"/>
        <pc:sldMkLst>
          <pc:docMk/>
          <pc:sldMk cId="1820100173" sldId="2076136505"/>
        </pc:sldMkLst>
      </pc:sldChg>
      <pc:sldChg chg="del">
        <pc:chgData name="Peter Selch Dahl" userId="2a8ce412-a5f6-41ff-9f56-c9e5c014459a" providerId="ADAL" clId="{48BBFCFD-80E5-4CD1-AABD-CE021F788FB0}" dt="2020-01-22T04:35:02.636" v="4" actId="2696"/>
        <pc:sldMkLst>
          <pc:docMk/>
          <pc:sldMk cId="887622885" sldId="2076136506"/>
        </pc:sldMkLst>
      </pc:sldChg>
      <pc:sldChg chg="del">
        <pc:chgData name="Peter Selch Dahl" userId="2a8ce412-a5f6-41ff-9f56-c9e5c014459a" providerId="ADAL" clId="{48BBFCFD-80E5-4CD1-AABD-CE021F788FB0}" dt="2020-01-22T04:35:02.664" v="5" actId="2696"/>
        <pc:sldMkLst>
          <pc:docMk/>
          <pc:sldMk cId="465672031" sldId="2076136507"/>
        </pc:sldMkLst>
      </pc:sldChg>
      <pc:sldChg chg="del">
        <pc:chgData name="Peter Selch Dahl" userId="2a8ce412-a5f6-41ff-9f56-c9e5c014459a" providerId="ADAL" clId="{48BBFCFD-80E5-4CD1-AABD-CE021F788FB0}" dt="2020-01-22T04:35:02.785" v="9" actId="2696"/>
        <pc:sldMkLst>
          <pc:docMk/>
          <pc:sldMk cId="878206715" sldId="2076136509"/>
        </pc:sldMkLst>
      </pc:sldChg>
    </pc:docChg>
  </pc:docChgLst>
  <pc:docChgLst>
    <pc:chgData name="Jon Orton" userId="S::jonorton@microsoft.com::b929e65e-fcdc-4557-a1ff-b0d4ce98b76d" providerId="AD" clId="Web-{C3BE4FB8-A99F-6969-2D82-CF61969DAD4C}"/>
    <pc:docChg chg="mod">
      <pc:chgData name="Jon Orton" userId="S::jonorton@microsoft.com::b929e65e-fcdc-4557-a1ff-b0d4ce98b76d" providerId="AD" clId="Web-{C3BE4FB8-A99F-6969-2D82-CF61969DAD4C}" dt="2019-09-05T23:16:55.838" v="1"/>
      <pc:docMkLst>
        <pc:docMk/>
      </pc:docMkLst>
      <pc:sldChg chg="addCm">
        <pc:chgData name="Jon Orton" userId="S::jonorton@microsoft.com::b929e65e-fcdc-4557-a1ff-b0d4ce98b76d" providerId="AD" clId="Web-{C3BE4FB8-A99F-6969-2D82-CF61969DAD4C}" dt="2019-09-05T23:16:55.838" v="1"/>
        <pc:sldMkLst>
          <pc:docMk/>
          <pc:sldMk cId="1361269808" sldId="4187"/>
        </pc:sldMkLst>
      </pc:sldChg>
    </pc:docChg>
  </pc:docChgLst>
  <pc:docChgLst>
    <pc:chgData name="David Bjurman-Birr" userId="464a8be3-32a2-436c-817c-53b97f38697d" providerId="ADAL" clId="{94A38F92-1A38-4E37-AC01-8F1897C34980}"/>
    <pc:docChg chg="modSld sldOrd">
      <pc:chgData name="David Bjurman-Birr" userId="464a8be3-32a2-436c-817c-53b97f38697d" providerId="ADAL" clId="{94A38F92-1A38-4E37-AC01-8F1897C34980}" dt="2019-10-06T22:40:36.886" v="352" actId="20577"/>
      <pc:docMkLst>
        <pc:docMk/>
      </pc:docMkLst>
      <pc:sldChg chg="modSp ord">
        <pc:chgData name="David Bjurman-Birr" userId="464a8be3-32a2-436c-817c-53b97f38697d" providerId="ADAL" clId="{94A38F92-1A38-4E37-AC01-8F1897C34980}" dt="2019-10-06T22:40:36.886" v="352" actId="20577"/>
        <pc:sldMkLst>
          <pc:docMk/>
          <pc:sldMk cId="1912622331" sldId="2076135968"/>
        </pc:sldMkLst>
        <pc:graphicFrameChg chg="mod modGraphic">
          <ac:chgData name="David Bjurman-Birr" userId="464a8be3-32a2-436c-817c-53b97f38697d" providerId="ADAL" clId="{94A38F92-1A38-4E37-AC01-8F1897C34980}" dt="2019-10-06T22:40:36.886" v="352" actId="20577"/>
          <ac:graphicFrameMkLst>
            <pc:docMk/>
            <pc:sldMk cId="1912622331" sldId="2076135968"/>
            <ac:graphicFrameMk id="6" creationId="{CD3DA1A2-6373-4AA8-A488-6DD33A2CCB58}"/>
          </ac:graphicFrameMkLst>
        </pc:graphicFrameChg>
      </pc:sldChg>
      <pc:sldChg chg="modSp">
        <pc:chgData name="David Bjurman-Birr" userId="464a8be3-32a2-436c-817c-53b97f38697d" providerId="ADAL" clId="{94A38F92-1A38-4E37-AC01-8F1897C34980}" dt="2019-10-06T22:39:05.605" v="235" actId="6549"/>
        <pc:sldMkLst>
          <pc:docMk/>
          <pc:sldMk cId="776579920" sldId="2076135969"/>
        </pc:sldMkLst>
        <pc:graphicFrameChg chg="mod modGraphic">
          <ac:chgData name="David Bjurman-Birr" userId="464a8be3-32a2-436c-817c-53b97f38697d" providerId="ADAL" clId="{94A38F92-1A38-4E37-AC01-8F1897C34980}" dt="2019-10-06T22:39:05.605" v="235" actId="6549"/>
          <ac:graphicFrameMkLst>
            <pc:docMk/>
            <pc:sldMk cId="776579920" sldId="2076135969"/>
            <ac:graphicFrameMk id="10" creationId="{BBC299A1-301D-4B69-A0F3-64C632FD3244}"/>
          </ac:graphicFrameMkLst>
        </pc:graphicFrameChg>
      </pc:sldChg>
    </pc:docChg>
  </pc:docChgLst>
  <pc:docChgLst>
    <pc:chgData name="Matt Hall" userId="S::mathal@microsoft.com::a534ab28-d2d0-46ed-b3cd-74e3b961d339" providerId="AD" clId="Web-{6437B08F-1344-42E0-83B2-B6B1246E5119}"/>
    <pc:docChg chg="delSld modSection">
      <pc:chgData name="Matt Hall" userId="S::mathal@microsoft.com::a534ab28-d2d0-46ed-b3cd-74e3b961d339" providerId="AD" clId="Web-{6437B08F-1344-42E0-83B2-B6B1246E5119}" dt="2019-09-07T02:55:09.665" v="1"/>
      <pc:docMkLst>
        <pc:docMk/>
      </pc:docMkLst>
      <pc:sldChg chg="delCm">
        <pc:chgData name="Matt Hall" userId="S::mathal@microsoft.com::a534ab28-d2d0-46ed-b3cd-74e3b961d339" providerId="AD" clId="Web-{6437B08F-1344-42E0-83B2-B6B1246E5119}" dt="2019-09-07T02:55:09.665" v="1"/>
        <pc:sldMkLst>
          <pc:docMk/>
          <pc:sldMk cId="1361269808" sldId="4187"/>
        </pc:sldMkLst>
      </pc:sldChg>
      <pc:sldChg chg="del">
        <pc:chgData name="Matt Hall" userId="S::mathal@microsoft.com::a534ab28-d2d0-46ed-b3cd-74e3b961d339" providerId="AD" clId="Web-{6437B08F-1344-42E0-83B2-B6B1246E5119}" dt="2019-09-07T02:36:28.113" v="0"/>
        <pc:sldMkLst>
          <pc:docMk/>
          <pc:sldMk cId="1218579518" sldId="10337"/>
        </pc:sldMkLst>
      </pc:sldChg>
    </pc:docChg>
  </pc:docChgLst>
  <pc:docChgLst>
    <pc:chgData name="Matt Hall" userId="a534ab28-d2d0-46ed-b3cd-74e3b961d339" providerId="ADAL" clId="{B4E4BC9B-DAB6-4BEA-96AC-15F8B033A43F}"/>
    <pc:docChg chg="undo custSel addSld delSld modSld sldOrd modSection">
      <pc:chgData name="Matt Hall" userId="a534ab28-d2d0-46ed-b3cd-74e3b961d339" providerId="ADAL" clId="{B4E4BC9B-DAB6-4BEA-96AC-15F8B033A43F}" dt="2019-09-07T02:54:31.293" v="346" actId="20577"/>
      <pc:docMkLst>
        <pc:docMk/>
      </pc:docMkLst>
      <pc:sldChg chg="modSp">
        <pc:chgData name="Matt Hall" userId="a534ab28-d2d0-46ed-b3cd-74e3b961d339" providerId="ADAL" clId="{B4E4BC9B-DAB6-4BEA-96AC-15F8B033A43F}" dt="2019-09-07T02:47:40.891" v="205" actId="113"/>
        <pc:sldMkLst>
          <pc:docMk/>
          <pc:sldMk cId="1608802035" sldId="1164"/>
        </pc:sldMkLst>
        <pc:spChg chg="mod">
          <ac:chgData name="Matt Hall" userId="a534ab28-d2d0-46ed-b3cd-74e3b961d339" providerId="ADAL" clId="{B4E4BC9B-DAB6-4BEA-96AC-15F8B033A43F}" dt="2019-09-07T02:47:40.891" v="205" actId="113"/>
          <ac:spMkLst>
            <pc:docMk/>
            <pc:sldMk cId="1608802035" sldId="1164"/>
            <ac:spMk id="21" creationId="{E77D2D9C-B38F-42B0-BB3D-F78F4989E80F}"/>
          </ac:spMkLst>
        </pc:spChg>
      </pc:sldChg>
      <pc:sldChg chg="modSp mod">
        <pc:chgData name="Matt Hall" userId="a534ab28-d2d0-46ed-b3cd-74e3b961d339" providerId="ADAL" clId="{B4E4BC9B-DAB6-4BEA-96AC-15F8B033A43F}" dt="2019-09-07T02:46:33.783" v="164" actId="20577"/>
        <pc:sldMkLst>
          <pc:docMk/>
          <pc:sldMk cId="3736565666" sldId="1705"/>
        </pc:sldMkLst>
        <pc:spChg chg="mod">
          <ac:chgData name="Matt Hall" userId="a534ab28-d2d0-46ed-b3cd-74e3b961d339" providerId="ADAL" clId="{B4E4BC9B-DAB6-4BEA-96AC-15F8B033A43F}" dt="2019-09-07T02:46:33.783" v="164" actId="20577"/>
          <ac:spMkLst>
            <pc:docMk/>
            <pc:sldMk cId="3736565666" sldId="1705"/>
            <ac:spMk id="4" creationId="{7A2ED005-8D09-4212-B744-648E31828423}"/>
          </ac:spMkLst>
        </pc:spChg>
      </pc:sldChg>
      <pc:sldChg chg="modSp mod">
        <pc:chgData name="Matt Hall" userId="a534ab28-d2d0-46ed-b3cd-74e3b961d339" providerId="ADAL" clId="{B4E4BC9B-DAB6-4BEA-96AC-15F8B033A43F}" dt="2019-09-07T02:50:10.373" v="210" actId="1076"/>
        <pc:sldMkLst>
          <pc:docMk/>
          <pc:sldMk cId="3180155263" sldId="3393"/>
        </pc:sldMkLst>
        <pc:spChg chg="mod">
          <ac:chgData name="Matt Hall" userId="a534ab28-d2d0-46ed-b3cd-74e3b961d339" providerId="ADAL" clId="{B4E4BC9B-DAB6-4BEA-96AC-15F8B033A43F}" dt="2019-09-07T02:49:40.384" v="207" actId="1076"/>
          <ac:spMkLst>
            <pc:docMk/>
            <pc:sldMk cId="3180155263" sldId="3393"/>
            <ac:spMk id="3" creationId="{210F20B6-3F79-40A1-B02A-EC48901EF3D2}"/>
          </ac:spMkLst>
        </pc:spChg>
        <pc:spChg chg="mod">
          <ac:chgData name="Matt Hall" userId="a534ab28-d2d0-46ed-b3cd-74e3b961d339" providerId="ADAL" clId="{B4E4BC9B-DAB6-4BEA-96AC-15F8B033A43F}" dt="2019-09-07T02:49:56.039" v="209" actId="1076"/>
          <ac:spMkLst>
            <pc:docMk/>
            <pc:sldMk cId="3180155263" sldId="3393"/>
            <ac:spMk id="27" creationId="{B49DADF5-9358-442C-B585-AA45828BEB6E}"/>
          </ac:spMkLst>
        </pc:spChg>
        <pc:spChg chg="mod">
          <ac:chgData name="Matt Hall" userId="a534ab28-d2d0-46ed-b3cd-74e3b961d339" providerId="ADAL" clId="{B4E4BC9B-DAB6-4BEA-96AC-15F8B033A43F}" dt="2019-09-07T02:50:10.373" v="210" actId="1076"/>
          <ac:spMkLst>
            <pc:docMk/>
            <pc:sldMk cId="3180155263" sldId="3393"/>
            <ac:spMk id="30" creationId="{D978115B-0164-4783-BDFB-5E5089EF1425}"/>
          </ac:spMkLst>
        </pc:spChg>
        <pc:spChg chg="mod">
          <ac:chgData name="Matt Hall" userId="a534ab28-d2d0-46ed-b3cd-74e3b961d339" providerId="ADAL" clId="{B4E4BC9B-DAB6-4BEA-96AC-15F8B033A43F}" dt="2019-09-07T02:49:56.039" v="209" actId="1076"/>
          <ac:spMkLst>
            <pc:docMk/>
            <pc:sldMk cId="3180155263" sldId="3393"/>
            <ac:spMk id="52" creationId="{6CBF16C5-9C84-4B33-A8F7-A1B0C0F947A6}"/>
          </ac:spMkLst>
        </pc:spChg>
        <pc:grpChg chg="mod">
          <ac:chgData name="Matt Hall" userId="a534ab28-d2d0-46ed-b3cd-74e3b961d339" providerId="ADAL" clId="{B4E4BC9B-DAB6-4BEA-96AC-15F8B033A43F}" dt="2019-09-07T02:50:10.373" v="210" actId="1076"/>
          <ac:grpSpMkLst>
            <pc:docMk/>
            <pc:sldMk cId="3180155263" sldId="3393"/>
            <ac:grpSpMk id="9" creationId="{F234A787-F1DC-4CA7-8EA5-2F6906CEEBFC}"/>
          </ac:grpSpMkLst>
        </pc:grpChg>
        <pc:grpChg chg="mod">
          <ac:chgData name="Matt Hall" userId="a534ab28-d2d0-46ed-b3cd-74e3b961d339" providerId="ADAL" clId="{B4E4BC9B-DAB6-4BEA-96AC-15F8B033A43F}" dt="2019-09-07T02:49:56.039" v="209" actId="1076"/>
          <ac:grpSpMkLst>
            <pc:docMk/>
            <pc:sldMk cId="3180155263" sldId="3393"/>
            <ac:grpSpMk id="34" creationId="{59353139-CE93-497E-AD8F-A5DF2329A948}"/>
          </ac:grpSpMkLst>
        </pc:grpChg>
      </pc:sldChg>
      <pc:sldChg chg="modSp mod">
        <pc:chgData name="Matt Hall" userId="a534ab28-d2d0-46ed-b3cd-74e3b961d339" providerId="ADAL" clId="{B4E4BC9B-DAB6-4BEA-96AC-15F8B033A43F}" dt="2019-09-07T02:54:31.293" v="346" actId="20577"/>
        <pc:sldMkLst>
          <pc:docMk/>
          <pc:sldMk cId="1361269808" sldId="4187"/>
        </pc:sldMkLst>
        <pc:spChg chg="mod">
          <ac:chgData name="Matt Hall" userId="a534ab28-d2d0-46ed-b3cd-74e3b961d339" providerId="ADAL" clId="{B4E4BC9B-DAB6-4BEA-96AC-15F8B033A43F}" dt="2019-09-07T02:54:31.293" v="346" actId="20577"/>
          <ac:spMkLst>
            <pc:docMk/>
            <pc:sldMk cId="1361269808" sldId="4187"/>
            <ac:spMk id="9" creationId="{F2B15B82-AC96-4881-B94C-B62875D9B546}"/>
          </ac:spMkLst>
        </pc:spChg>
      </pc:sldChg>
      <pc:sldChg chg="addSp delSp modSp mod">
        <pc:chgData name="Matt Hall" userId="a534ab28-d2d0-46ed-b3cd-74e3b961d339" providerId="ADAL" clId="{B4E4BC9B-DAB6-4BEA-96AC-15F8B033A43F}" dt="2019-09-07T02:53:32.997" v="344" actId="1076"/>
        <pc:sldMkLst>
          <pc:docMk/>
          <pc:sldMk cId="635670573" sldId="8449"/>
        </pc:sldMkLst>
        <pc:spChg chg="add del mod">
          <ac:chgData name="Matt Hall" userId="a534ab28-d2d0-46ed-b3cd-74e3b961d339" providerId="ADAL" clId="{B4E4BC9B-DAB6-4BEA-96AC-15F8B033A43F}" dt="2019-09-07T02:52:26.974" v="330" actId="478"/>
          <ac:spMkLst>
            <pc:docMk/>
            <pc:sldMk cId="635670573" sldId="8449"/>
            <ac:spMk id="3" creationId="{1B7DDBED-F073-4324-9EA5-C537F97EC0FE}"/>
          </ac:spMkLst>
        </pc:spChg>
        <pc:spChg chg="mod">
          <ac:chgData name="Matt Hall" userId="a534ab28-d2d0-46ed-b3cd-74e3b961d339" providerId="ADAL" clId="{B4E4BC9B-DAB6-4BEA-96AC-15F8B033A43F}" dt="2019-09-07T02:52:44.852" v="333" actId="1076"/>
          <ac:spMkLst>
            <pc:docMk/>
            <pc:sldMk cId="635670573" sldId="8449"/>
            <ac:spMk id="21" creationId="{A45F49EB-1D56-4276-A180-B2B69B578712}"/>
          </ac:spMkLst>
        </pc:spChg>
        <pc:spChg chg="mod">
          <ac:chgData name="Matt Hall" userId="a534ab28-d2d0-46ed-b3cd-74e3b961d339" providerId="ADAL" clId="{B4E4BC9B-DAB6-4BEA-96AC-15F8B033A43F}" dt="2019-09-07T02:52:44.852" v="333" actId="1076"/>
          <ac:spMkLst>
            <pc:docMk/>
            <pc:sldMk cId="635670573" sldId="8449"/>
            <ac:spMk id="22" creationId="{F5BADFAA-E163-4272-939E-B4731ECF3096}"/>
          </ac:spMkLst>
        </pc:spChg>
        <pc:spChg chg="mod">
          <ac:chgData name="Matt Hall" userId="a534ab28-d2d0-46ed-b3cd-74e3b961d339" providerId="ADAL" clId="{B4E4BC9B-DAB6-4BEA-96AC-15F8B033A43F}" dt="2019-09-07T02:52:44.852" v="333" actId="1076"/>
          <ac:spMkLst>
            <pc:docMk/>
            <pc:sldMk cId="635670573" sldId="8449"/>
            <ac:spMk id="23" creationId="{DB9622DD-77C3-47C9-A8E8-BBD3F7F515A3}"/>
          </ac:spMkLst>
        </pc:spChg>
        <pc:spChg chg="mod">
          <ac:chgData name="Matt Hall" userId="a534ab28-d2d0-46ed-b3cd-74e3b961d339" providerId="ADAL" clId="{B4E4BC9B-DAB6-4BEA-96AC-15F8B033A43F}" dt="2019-09-07T02:52:44.852" v="333" actId="1076"/>
          <ac:spMkLst>
            <pc:docMk/>
            <pc:sldMk cId="635670573" sldId="8449"/>
            <ac:spMk id="24" creationId="{856E2512-0D53-4D16-A494-74232995BC3A}"/>
          </ac:spMkLst>
        </pc:spChg>
        <pc:spChg chg="add mod">
          <ac:chgData name="Matt Hall" userId="a534ab28-d2d0-46ed-b3cd-74e3b961d339" providerId="ADAL" clId="{B4E4BC9B-DAB6-4BEA-96AC-15F8B033A43F}" dt="2019-09-07T02:52:52.119" v="342" actId="20577"/>
          <ac:spMkLst>
            <pc:docMk/>
            <pc:sldMk cId="635670573" sldId="8449"/>
            <ac:spMk id="26" creationId="{8C231C40-B315-49AD-828E-F9F7EEE18B07}"/>
          </ac:spMkLst>
        </pc:spChg>
        <pc:spChg chg="del mod">
          <ac:chgData name="Matt Hall" userId="a534ab28-d2d0-46ed-b3cd-74e3b961d339" providerId="ADAL" clId="{B4E4BC9B-DAB6-4BEA-96AC-15F8B033A43F}" dt="2019-09-07T02:52:24.463" v="329" actId="478"/>
          <ac:spMkLst>
            <pc:docMk/>
            <pc:sldMk cId="635670573" sldId="8449"/>
            <ac:spMk id="27" creationId="{77E61DAD-818A-4C81-93CF-063C44069EC0}"/>
          </ac:spMkLst>
        </pc:spChg>
        <pc:spChg chg="add mod">
          <ac:chgData name="Matt Hall" userId="a534ab28-d2d0-46ed-b3cd-74e3b961d339" providerId="ADAL" clId="{B4E4BC9B-DAB6-4BEA-96AC-15F8B033A43F}" dt="2019-09-07T02:53:32.997" v="344" actId="1076"/>
          <ac:spMkLst>
            <pc:docMk/>
            <pc:sldMk cId="635670573" sldId="8449"/>
            <ac:spMk id="28" creationId="{65C5B555-A87A-4C63-817D-40CF0EA7AB2B}"/>
          </ac:spMkLst>
        </pc:spChg>
        <pc:spChg chg="mod">
          <ac:chgData name="Matt Hall" userId="a534ab28-d2d0-46ed-b3cd-74e3b961d339" providerId="ADAL" clId="{B4E4BC9B-DAB6-4BEA-96AC-15F8B033A43F}" dt="2019-09-07T02:52:44.852" v="333" actId="1076"/>
          <ac:spMkLst>
            <pc:docMk/>
            <pc:sldMk cId="635670573" sldId="8449"/>
            <ac:spMk id="33" creationId="{02633A26-15AF-4E3B-B4A9-62A142CFE466}"/>
          </ac:spMkLst>
        </pc:spChg>
        <pc:spChg chg="mod">
          <ac:chgData name="Matt Hall" userId="a534ab28-d2d0-46ed-b3cd-74e3b961d339" providerId="ADAL" clId="{B4E4BC9B-DAB6-4BEA-96AC-15F8B033A43F}" dt="2019-09-07T02:52:44.852" v="333" actId="1076"/>
          <ac:spMkLst>
            <pc:docMk/>
            <pc:sldMk cId="635670573" sldId="8449"/>
            <ac:spMk id="38" creationId="{F1DD22CA-6A06-4FE4-82C0-36A2E570C439}"/>
          </ac:spMkLst>
        </pc:spChg>
        <pc:spChg chg="mod">
          <ac:chgData name="Matt Hall" userId="a534ab28-d2d0-46ed-b3cd-74e3b961d339" providerId="ADAL" clId="{B4E4BC9B-DAB6-4BEA-96AC-15F8B033A43F}" dt="2019-09-07T02:52:44.852" v="333" actId="1076"/>
          <ac:spMkLst>
            <pc:docMk/>
            <pc:sldMk cId="635670573" sldId="8449"/>
            <ac:spMk id="39" creationId="{1DD85543-B4E1-4F41-8383-FED4F04F123D}"/>
          </ac:spMkLst>
        </pc:spChg>
        <pc:spChg chg="mod">
          <ac:chgData name="Matt Hall" userId="a534ab28-d2d0-46ed-b3cd-74e3b961d339" providerId="ADAL" clId="{B4E4BC9B-DAB6-4BEA-96AC-15F8B033A43F}" dt="2019-09-07T02:52:44.852" v="333" actId="1076"/>
          <ac:spMkLst>
            <pc:docMk/>
            <pc:sldMk cId="635670573" sldId="8449"/>
            <ac:spMk id="70" creationId="{E05D09FF-9A59-9849-A15B-E22E605D7E7C}"/>
          </ac:spMkLst>
        </pc:spChg>
        <pc:spChg chg="mod">
          <ac:chgData name="Matt Hall" userId="a534ab28-d2d0-46ed-b3cd-74e3b961d339" providerId="ADAL" clId="{B4E4BC9B-DAB6-4BEA-96AC-15F8B033A43F}" dt="2019-09-07T02:52:44.852" v="333" actId="1076"/>
          <ac:spMkLst>
            <pc:docMk/>
            <pc:sldMk cId="635670573" sldId="8449"/>
            <ac:spMk id="71" creationId="{E9772CA2-C01F-8443-A3CF-441FAA569594}"/>
          </ac:spMkLst>
        </pc:spChg>
        <pc:spChg chg="mod">
          <ac:chgData name="Matt Hall" userId="a534ab28-d2d0-46ed-b3cd-74e3b961d339" providerId="ADAL" clId="{B4E4BC9B-DAB6-4BEA-96AC-15F8B033A43F}" dt="2019-09-07T02:52:44.852" v="333" actId="1076"/>
          <ac:spMkLst>
            <pc:docMk/>
            <pc:sldMk cId="635670573" sldId="8449"/>
            <ac:spMk id="72" creationId="{58DDDAE2-10EF-CC40-A88E-6EA77E792C18}"/>
          </ac:spMkLst>
        </pc:spChg>
        <pc:spChg chg="mod">
          <ac:chgData name="Matt Hall" userId="a534ab28-d2d0-46ed-b3cd-74e3b961d339" providerId="ADAL" clId="{B4E4BC9B-DAB6-4BEA-96AC-15F8B033A43F}" dt="2019-09-07T02:52:44.852" v="333" actId="1076"/>
          <ac:spMkLst>
            <pc:docMk/>
            <pc:sldMk cId="635670573" sldId="8449"/>
            <ac:spMk id="74" creationId="{89941B19-5417-3345-BBFF-BCDF3DE488D4}"/>
          </ac:spMkLst>
        </pc:spChg>
        <pc:grpChg chg="mod">
          <ac:chgData name="Matt Hall" userId="a534ab28-d2d0-46ed-b3cd-74e3b961d339" providerId="ADAL" clId="{B4E4BC9B-DAB6-4BEA-96AC-15F8B033A43F}" dt="2019-09-07T02:52:44.852" v="333" actId="1076"/>
          <ac:grpSpMkLst>
            <pc:docMk/>
            <pc:sldMk cId="635670573" sldId="8449"/>
            <ac:grpSpMk id="14" creationId="{3C5FAC2C-6316-40ED-9828-D1E6884C2294}"/>
          </ac:grpSpMkLst>
        </pc:grpChg>
        <pc:picChg chg="mod">
          <ac:chgData name="Matt Hall" userId="a534ab28-d2d0-46ed-b3cd-74e3b961d339" providerId="ADAL" clId="{B4E4BC9B-DAB6-4BEA-96AC-15F8B033A43F}" dt="2019-09-07T02:52:44.852" v="333" actId="1076"/>
          <ac:picMkLst>
            <pc:docMk/>
            <pc:sldMk cId="635670573" sldId="8449"/>
            <ac:picMk id="87" creationId="{32B83F7E-1413-F148-B23E-CEFAC0F1559E}"/>
          </ac:picMkLst>
        </pc:picChg>
        <pc:picChg chg="mod">
          <ac:chgData name="Matt Hall" userId="a534ab28-d2d0-46ed-b3cd-74e3b961d339" providerId="ADAL" clId="{B4E4BC9B-DAB6-4BEA-96AC-15F8B033A43F}" dt="2019-09-07T02:52:44.852" v="333" actId="1076"/>
          <ac:picMkLst>
            <pc:docMk/>
            <pc:sldMk cId="635670573" sldId="8449"/>
            <ac:picMk id="89" creationId="{2B47534B-AEC4-384E-BF32-E41F059DC306}"/>
          </ac:picMkLst>
        </pc:picChg>
        <pc:picChg chg="mod">
          <ac:chgData name="Matt Hall" userId="a534ab28-d2d0-46ed-b3cd-74e3b961d339" providerId="ADAL" clId="{B4E4BC9B-DAB6-4BEA-96AC-15F8B033A43F}" dt="2019-09-07T02:52:44.852" v="333" actId="1076"/>
          <ac:picMkLst>
            <pc:docMk/>
            <pc:sldMk cId="635670573" sldId="8449"/>
            <ac:picMk id="90" creationId="{16B75814-0D3F-9C42-9228-7009B7DB47C9}"/>
          </ac:picMkLst>
        </pc:picChg>
      </pc:sldChg>
      <pc:sldChg chg="modSp mod ord">
        <pc:chgData name="Matt Hall" userId="a534ab28-d2d0-46ed-b3cd-74e3b961d339" providerId="ADAL" clId="{B4E4BC9B-DAB6-4BEA-96AC-15F8B033A43F}" dt="2019-09-07T02:47:20.701" v="203" actId="20577"/>
        <pc:sldMkLst>
          <pc:docMk/>
          <pc:sldMk cId="4041583724" sldId="8492"/>
        </pc:sldMkLst>
        <pc:spChg chg="mod">
          <ac:chgData name="Matt Hall" userId="a534ab28-d2d0-46ed-b3cd-74e3b961d339" providerId="ADAL" clId="{B4E4BC9B-DAB6-4BEA-96AC-15F8B033A43F}" dt="2019-09-07T02:47:20.701" v="203" actId="20577"/>
          <ac:spMkLst>
            <pc:docMk/>
            <pc:sldMk cId="4041583724" sldId="8492"/>
            <ac:spMk id="20" creationId="{3E5743C2-E6D8-418E-BFBA-DC4DB79650E3}"/>
          </ac:spMkLst>
        </pc:spChg>
      </pc:sldChg>
      <pc:sldChg chg="del">
        <pc:chgData name="Matt Hall" userId="a534ab28-d2d0-46ed-b3cd-74e3b961d339" providerId="ADAL" clId="{B4E4BC9B-DAB6-4BEA-96AC-15F8B033A43F}" dt="2019-09-07T02:43:27.070" v="112" actId="47"/>
        <pc:sldMkLst>
          <pc:docMk/>
          <pc:sldMk cId="3282520782" sldId="8538"/>
        </pc:sldMkLst>
      </pc:sldChg>
      <pc:sldChg chg="modSp mod">
        <pc:chgData name="Matt Hall" userId="a534ab28-d2d0-46ed-b3cd-74e3b961d339" providerId="ADAL" clId="{B4E4BC9B-DAB6-4BEA-96AC-15F8B033A43F}" dt="2019-09-07T02:39:25.106" v="10" actId="207"/>
        <pc:sldMkLst>
          <pc:docMk/>
          <pc:sldMk cId="237807472" sldId="9111"/>
        </pc:sldMkLst>
        <pc:spChg chg="mod">
          <ac:chgData name="Matt Hall" userId="a534ab28-d2d0-46ed-b3cd-74e3b961d339" providerId="ADAL" clId="{B4E4BC9B-DAB6-4BEA-96AC-15F8B033A43F}" dt="2019-09-07T02:39:25.106" v="10" actId="207"/>
          <ac:spMkLst>
            <pc:docMk/>
            <pc:sldMk cId="237807472" sldId="9111"/>
            <ac:spMk id="21" creationId="{2EAEF2EA-5C6A-499F-AE49-A9FCBCB33ECA}"/>
          </ac:spMkLst>
        </pc:spChg>
      </pc:sldChg>
      <pc:sldChg chg="modSp mod ord">
        <pc:chgData name="Matt Hall" userId="a534ab28-d2d0-46ed-b3cd-74e3b961d339" providerId="ADAL" clId="{B4E4BC9B-DAB6-4BEA-96AC-15F8B033A43F}" dt="2019-09-07T02:43:24.860" v="111"/>
        <pc:sldMkLst>
          <pc:docMk/>
          <pc:sldMk cId="2691996748" sldId="2076135938"/>
        </pc:sldMkLst>
        <pc:spChg chg="mod">
          <ac:chgData name="Matt Hall" userId="a534ab28-d2d0-46ed-b3cd-74e3b961d339" providerId="ADAL" clId="{B4E4BC9B-DAB6-4BEA-96AC-15F8B033A43F}" dt="2019-09-07T02:43:11.842" v="109" actId="20577"/>
          <ac:spMkLst>
            <pc:docMk/>
            <pc:sldMk cId="2691996748" sldId="2076135938"/>
            <ac:spMk id="6" creationId="{CEE18CAB-D1AA-440D-8BE6-B71B02C81E0A}"/>
          </ac:spMkLst>
        </pc:spChg>
      </pc:sldChg>
      <pc:sldChg chg="modSp mod">
        <pc:chgData name="Matt Hall" userId="a534ab28-d2d0-46ed-b3cd-74e3b961d339" providerId="ADAL" clId="{B4E4BC9B-DAB6-4BEA-96AC-15F8B033A43F}" dt="2019-09-07T02:51:31.557" v="328" actId="207"/>
        <pc:sldMkLst>
          <pc:docMk/>
          <pc:sldMk cId="3180046679" sldId="2076135973"/>
        </pc:sldMkLst>
        <pc:spChg chg="mod">
          <ac:chgData name="Matt Hall" userId="a534ab28-d2d0-46ed-b3cd-74e3b961d339" providerId="ADAL" clId="{B4E4BC9B-DAB6-4BEA-96AC-15F8B033A43F}" dt="2019-09-07T02:51:31.557" v="328" actId="207"/>
          <ac:spMkLst>
            <pc:docMk/>
            <pc:sldMk cId="3180046679" sldId="2076135973"/>
            <ac:spMk id="9" creationId="{72FE05EA-8B94-47C2-9ADA-94AB7A47E464}"/>
          </ac:spMkLst>
        </pc:spChg>
      </pc:sldChg>
      <pc:sldChg chg="modSp mod">
        <pc:chgData name="Matt Hall" userId="a534ab28-d2d0-46ed-b3cd-74e3b961d339" providerId="ADAL" clId="{B4E4BC9B-DAB6-4BEA-96AC-15F8B033A43F}" dt="2019-09-07T02:38:55.174" v="9" actId="20577"/>
        <pc:sldMkLst>
          <pc:docMk/>
          <pc:sldMk cId="4171621451" sldId="2076135980"/>
        </pc:sldMkLst>
        <pc:spChg chg="mod">
          <ac:chgData name="Matt Hall" userId="a534ab28-d2d0-46ed-b3cd-74e3b961d339" providerId="ADAL" clId="{B4E4BC9B-DAB6-4BEA-96AC-15F8B033A43F}" dt="2019-09-07T02:38:55.174" v="9" actId="20577"/>
          <ac:spMkLst>
            <pc:docMk/>
            <pc:sldMk cId="4171621451" sldId="2076135980"/>
            <ac:spMk id="95" creationId="{EAC5D275-0824-42BC-981C-91EABDF0046F}"/>
          </ac:spMkLst>
        </pc:spChg>
      </pc:sldChg>
      <pc:sldChg chg="addSp modSp new del mod setBg modAnim">
        <pc:chgData name="Matt Hall" userId="a534ab28-d2d0-46ed-b3cd-74e3b961d339" providerId="ADAL" clId="{B4E4BC9B-DAB6-4BEA-96AC-15F8B033A43F}" dt="2019-09-07T02:46:04.404" v="156" actId="47"/>
        <pc:sldMkLst>
          <pc:docMk/>
          <pc:sldMk cId="706489784" sldId="2076135989"/>
        </pc:sldMkLst>
        <pc:spChg chg="add mod">
          <ac:chgData name="Matt Hall" userId="a534ab28-d2d0-46ed-b3cd-74e3b961d339" providerId="ADAL" clId="{B4E4BC9B-DAB6-4BEA-96AC-15F8B033A43F}" dt="2019-09-07T02:45:44.377" v="155" actId="207"/>
          <ac:spMkLst>
            <pc:docMk/>
            <pc:sldMk cId="706489784" sldId="2076135989"/>
            <ac:spMk id="2" creationId="{5D17374C-EBFF-44FD-AB2B-270C5335398F}"/>
          </ac:spMkLst>
        </pc:spChg>
        <pc:spChg chg="mod">
          <ac:chgData name="Matt Hall" userId="a534ab28-d2d0-46ed-b3cd-74e3b961d339" providerId="ADAL" clId="{B4E4BC9B-DAB6-4BEA-96AC-15F8B033A43F}" dt="2019-09-07T02:44:38.806" v="143" actId="14100"/>
          <ac:spMkLst>
            <pc:docMk/>
            <pc:sldMk cId="706489784" sldId="2076135989"/>
            <ac:spMk id="4" creationId="{0030767C-EA5F-43BF-AFE1-F8125B3613BE}"/>
          </ac:spMkLst>
        </pc:spChg>
        <pc:grpChg chg="add mod">
          <ac:chgData name="Matt Hall" userId="a534ab28-d2d0-46ed-b3cd-74e3b961d339" providerId="ADAL" clId="{B4E4BC9B-DAB6-4BEA-96AC-15F8B033A43F}" dt="2019-09-07T02:44:42.523" v="144" actId="14100"/>
          <ac:grpSpMkLst>
            <pc:docMk/>
            <pc:sldMk cId="706489784" sldId="2076135989"/>
            <ac:grpSpMk id="3" creationId="{F8E4DEEB-630B-43DF-AAFD-1CBED4393E24}"/>
          </ac:grpSpMkLst>
        </pc:grpChg>
      </pc:sldChg>
      <pc:sldChg chg="modSp mod">
        <pc:chgData name="Matt Hall" userId="a534ab28-d2d0-46ed-b3cd-74e3b961d339" providerId="ADAL" clId="{B4E4BC9B-DAB6-4BEA-96AC-15F8B033A43F}" dt="2019-09-07T02:46:56.021" v="180" actId="20577"/>
        <pc:sldMkLst>
          <pc:docMk/>
          <pc:sldMk cId="826833978" sldId="2076135989"/>
        </pc:sldMkLst>
        <pc:spChg chg="mod">
          <ac:chgData name="Matt Hall" userId="a534ab28-d2d0-46ed-b3cd-74e3b961d339" providerId="ADAL" clId="{B4E4BC9B-DAB6-4BEA-96AC-15F8B033A43F}" dt="2019-09-07T02:46:56.021" v="180" actId="20577"/>
          <ac:spMkLst>
            <pc:docMk/>
            <pc:sldMk cId="826833978" sldId="2076135989"/>
            <ac:spMk id="4" creationId="{7A2ED005-8D09-4212-B744-648E31828423}"/>
          </ac:spMkLst>
        </pc:spChg>
      </pc:sldChg>
      <pc:sldChg chg="modSp mod">
        <pc:chgData name="Matt Hall" userId="a534ab28-d2d0-46ed-b3cd-74e3b961d339" providerId="ADAL" clId="{B4E4BC9B-DAB6-4BEA-96AC-15F8B033A43F}" dt="2019-09-07T02:47:08.597" v="188" actId="20577"/>
        <pc:sldMkLst>
          <pc:docMk/>
          <pc:sldMk cId="187604167" sldId="2076135990"/>
        </pc:sldMkLst>
        <pc:spChg chg="mod">
          <ac:chgData name="Matt Hall" userId="a534ab28-d2d0-46ed-b3cd-74e3b961d339" providerId="ADAL" clId="{B4E4BC9B-DAB6-4BEA-96AC-15F8B033A43F}" dt="2019-09-07T02:47:08.597" v="188" actId="20577"/>
          <ac:spMkLst>
            <pc:docMk/>
            <pc:sldMk cId="187604167" sldId="2076135990"/>
            <ac:spMk id="4" creationId="{7A2ED005-8D09-4212-B744-648E31828423}"/>
          </ac:spMkLst>
        </pc:spChg>
      </pc:sldChg>
    </pc:docChg>
  </pc:docChgLst>
  <pc:docChgLst>
    <pc:chgData name="Ashanka Iddya" userId="S::ashiddya@microsoft.com::56052127-e867-4e10-9385-524acb06654e" providerId="AD" clId="Web-{4EA40D2F-3062-8A2D-8B5D-DBA7BC298FA1}"/>
    <pc:docChg chg="mod modSld">
      <pc:chgData name="Ashanka Iddya" userId="S::ashiddya@microsoft.com::56052127-e867-4e10-9385-524acb06654e" providerId="AD" clId="Web-{4EA40D2F-3062-8A2D-8B5D-DBA7BC298FA1}" dt="2019-09-05T20:14:20.293" v="2"/>
      <pc:docMkLst>
        <pc:docMk/>
      </pc:docMkLst>
      <pc:sldChg chg="addCm">
        <pc:chgData name="Ashanka Iddya" userId="S::ashiddya@microsoft.com::56052127-e867-4e10-9385-524acb06654e" providerId="AD" clId="Web-{4EA40D2F-3062-8A2D-8B5D-DBA7BC298FA1}" dt="2019-09-05T20:14:20.293" v="2"/>
        <pc:sldMkLst>
          <pc:docMk/>
          <pc:sldMk cId="3282520782" sldId="8538"/>
        </pc:sldMkLst>
      </pc:sldChg>
      <pc:sldChg chg="modSp">
        <pc:chgData name="Ashanka Iddya" userId="S::ashiddya@microsoft.com::56052127-e867-4e10-9385-524acb06654e" providerId="AD" clId="Web-{4EA40D2F-3062-8A2D-8B5D-DBA7BC298FA1}" dt="2019-09-05T20:11:54.105" v="0" actId="20577"/>
        <pc:sldMkLst>
          <pc:docMk/>
          <pc:sldMk cId="2691996748" sldId="2076135938"/>
        </pc:sldMkLst>
        <pc:spChg chg="mod">
          <ac:chgData name="Ashanka Iddya" userId="S::ashiddya@microsoft.com::56052127-e867-4e10-9385-524acb06654e" providerId="AD" clId="Web-{4EA40D2F-3062-8A2D-8B5D-DBA7BC298FA1}" dt="2019-09-05T20:11:54.105" v="0" actId="20577"/>
          <ac:spMkLst>
            <pc:docMk/>
            <pc:sldMk cId="2691996748" sldId="2076135938"/>
            <ac:spMk id="6" creationId="{CEE18CAB-D1AA-440D-8BE6-B71B02C81E0A}"/>
          </ac:spMkLst>
        </pc:spChg>
      </pc:sldChg>
    </pc:docChg>
  </pc:docChgLst>
  <pc:docChgLst>
    <pc:chgData name="Peter Selch Dahl" userId="2a8ce412-a5f6-41ff-9f56-c9e5c014459a" providerId="ADAL" clId="{70BA7881-8769-4549-A7E8-1E0DE30791E1}"/>
    <pc:docChg chg="undo redo custSel addSld delSld modSld sldOrd modMainMaster delSection modSection">
      <pc:chgData name="Peter Selch Dahl" userId="2a8ce412-a5f6-41ff-9f56-c9e5c014459a" providerId="ADAL" clId="{70BA7881-8769-4549-A7E8-1E0DE30791E1}" dt="2020-01-22T03:41:13.754" v="2271" actId="20577"/>
      <pc:docMkLst>
        <pc:docMk/>
      </pc:docMkLst>
      <pc:sldChg chg="add del modTransition">
        <pc:chgData name="Peter Selch Dahl" userId="2a8ce412-a5f6-41ff-9f56-c9e5c014459a" providerId="ADAL" clId="{70BA7881-8769-4549-A7E8-1E0DE30791E1}" dt="2020-01-20T21:16:51.481" v="1663"/>
        <pc:sldMkLst>
          <pc:docMk/>
          <pc:sldMk cId="941453268" sldId="258"/>
        </pc:sldMkLst>
      </pc:sldChg>
      <pc:sldChg chg="modSp">
        <pc:chgData name="Peter Selch Dahl" userId="2a8ce412-a5f6-41ff-9f56-c9e5c014459a" providerId="ADAL" clId="{70BA7881-8769-4549-A7E8-1E0DE30791E1}" dt="2020-01-20T21:48:25.933" v="1687" actId="20577"/>
        <pc:sldMkLst>
          <pc:docMk/>
          <pc:sldMk cId="3043008661" sldId="259"/>
        </pc:sldMkLst>
        <pc:spChg chg="mod">
          <ac:chgData name="Peter Selch Dahl" userId="2a8ce412-a5f6-41ff-9f56-c9e5c014459a" providerId="ADAL" clId="{70BA7881-8769-4549-A7E8-1E0DE30791E1}" dt="2020-01-20T21:48:25.933" v="1687" actId="20577"/>
          <ac:spMkLst>
            <pc:docMk/>
            <pc:sldMk cId="3043008661" sldId="259"/>
            <ac:spMk id="9" creationId="{00000000-0000-0000-0000-000000000000}"/>
          </ac:spMkLst>
        </pc:spChg>
      </pc:sldChg>
      <pc:sldChg chg="modSp add">
        <pc:chgData name="Peter Selch Dahl" userId="2a8ce412-a5f6-41ff-9f56-c9e5c014459a" providerId="ADAL" clId="{70BA7881-8769-4549-A7E8-1E0DE30791E1}" dt="2020-01-20T21:54:59.315" v="1690" actId="404"/>
        <pc:sldMkLst>
          <pc:docMk/>
          <pc:sldMk cId="4136395817" sldId="262"/>
        </pc:sldMkLst>
        <pc:spChg chg="mod">
          <ac:chgData name="Peter Selch Dahl" userId="2a8ce412-a5f6-41ff-9f56-c9e5c014459a" providerId="ADAL" clId="{70BA7881-8769-4549-A7E8-1E0DE30791E1}" dt="2020-01-20T21:54:59.315" v="1690" actId="404"/>
          <ac:spMkLst>
            <pc:docMk/>
            <pc:sldMk cId="4136395817" sldId="262"/>
            <ac:spMk id="2" creationId="{00000000-0000-0000-0000-000000000000}"/>
          </ac:spMkLst>
        </pc:spChg>
      </pc:sldChg>
      <pc:sldChg chg="addSp modSp">
        <pc:chgData name="Peter Selch Dahl" userId="2a8ce412-a5f6-41ff-9f56-c9e5c014459a" providerId="ADAL" clId="{70BA7881-8769-4549-A7E8-1E0DE30791E1}" dt="2020-01-22T03:41:13.754" v="2271" actId="20577"/>
        <pc:sldMkLst>
          <pc:docMk/>
          <pc:sldMk cId="4163658541" sldId="302"/>
        </pc:sldMkLst>
        <pc:spChg chg="mod">
          <ac:chgData name="Peter Selch Dahl" userId="2a8ce412-a5f6-41ff-9f56-c9e5c014459a" providerId="ADAL" clId="{70BA7881-8769-4549-A7E8-1E0DE30791E1}" dt="2020-01-22T03:41:13.754" v="2271" actId="20577"/>
          <ac:spMkLst>
            <pc:docMk/>
            <pc:sldMk cId="4163658541" sldId="302"/>
            <ac:spMk id="2" creationId="{8EC99C92-DC83-4B0C-8761-558598302812}"/>
          </ac:spMkLst>
        </pc:spChg>
        <pc:spChg chg="mod">
          <ac:chgData name="Peter Selch Dahl" userId="2a8ce412-a5f6-41ff-9f56-c9e5c014459a" providerId="ADAL" clId="{70BA7881-8769-4549-A7E8-1E0DE30791E1}" dt="2020-01-19T18:53:37.277" v="148" actId="20577"/>
          <ac:spMkLst>
            <pc:docMk/>
            <pc:sldMk cId="4163658541" sldId="302"/>
            <ac:spMk id="3" creationId="{D05C6155-CEF0-4464-9529-3BB3B426C3B7}"/>
          </ac:spMkLst>
        </pc:spChg>
        <pc:spChg chg="add mod">
          <ac:chgData name="Peter Selch Dahl" userId="2a8ce412-a5f6-41ff-9f56-c9e5c014459a" providerId="ADAL" clId="{70BA7881-8769-4549-A7E8-1E0DE30791E1}" dt="2020-01-21T07:40:15.867" v="2244" actId="113"/>
          <ac:spMkLst>
            <pc:docMk/>
            <pc:sldMk cId="4163658541" sldId="302"/>
            <ac:spMk id="4" creationId="{741FD7EF-D005-44C3-898B-33192C3AAEA8}"/>
          </ac:spMkLst>
        </pc:spChg>
      </pc:sldChg>
      <pc:sldChg chg="del ord">
        <pc:chgData name="Peter Selch Dahl" userId="2a8ce412-a5f6-41ff-9f56-c9e5c014459a" providerId="ADAL" clId="{70BA7881-8769-4549-A7E8-1E0DE30791E1}" dt="2020-01-21T06:26:36.575" v="2218" actId="2696"/>
        <pc:sldMkLst>
          <pc:docMk/>
          <pc:sldMk cId="1608802035" sldId="1164"/>
        </pc:sldMkLst>
      </pc:sldChg>
      <pc:sldChg chg="modSp ord">
        <pc:chgData name="Peter Selch Dahl" userId="2a8ce412-a5f6-41ff-9f56-c9e5c014459a" providerId="ADAL" clId="{70BA7881-8769-4549-A7E8-1E0DE30791E1}" dt="2020-01-21T00:33:01.586" v="1811"/>
        <pc:sldMkLst>
          <pc:docMk/>
          <pc:sldMk cId="1303310346" sldId="1410"/>
        </pc:sldMkLst>
        <pc:graphicFrameChg chg="modGraphic">
          <ac:chgData name="Peter Selch Dahl" userId="2a8ce412-a5f6-41ff-9f56-c9e5c014459a" providerId="ADAL" clId="{70BA7881-8769-4549-A7E8-1E0DE30791E1}" dt="2020-01-21T00:29:47.079" v="1804" actId="2166"/>
          <ac:graphicFrameMkLst>
            <pc:docMk/>
            <pc:sldMk cId="1303310346" sldId="1410"/>
            <ac:graphicFrameMk id="6" creationId="{0D29A4B0-A456-435E-84F4-D71306110A63}"/>
          </ac:graphicFrameMkLst>
        </pc:graphicFrameChg>
      </pc:sldChg>
      <pc:sldChg chg="add del ord">
        <pc:chgData name="Peter Selch Dahl" userId="2a8ce412-a5f6-41ff-9f56-c9e5c014459a" providerId="ADAL" clId="{70BA7881-8769-4549-A7E8-1E0DE30791E1}" dt="2020-01-21T00:59:50.334" v="1865"/>
        <pc:sldMkLst>
          <pc:docMk/>
          <pc:sldMk cId="4163544424" sldId="1566"/>
        </pc:sldMkLst>
      </pc:sldChg>
      <pc:sldChg chg="modSp">
        <pc:chgData name="Peter Selch Dahl" userId="2a8ce412-a5f6-41ff-9f56-c9e5c014459a" providerId="ADAL" clId="{70BA7881-8769-4549-A7E8-1E0DE30791E1}" dt="2020-01-21T00:12:14.241" v="1714" actId="20577"/>
        <pc:sldMkLst>
          <pc:docMk/>
          <pc:sldMk cId="3496405892" sldId="1614"/>
        </pc:sldMkLst>
        <pc:spChg chg="mod">
          <ac:chgData name="Peter Selch Dahl" userId="2a8ce412-a5f6-41ff-9f56-c9e5c014459a" providerId="ADAL" clId="{70BA7881-8769-4549-A7E8-1E0DE30791E1}" dt="2020-01-21T00:12:14.241" v="1714" actId="20577"/>
          <ac:spMkLst>
            <pc:docMk/>
            <pc:sldMk cId="3496405892" sldId="1614"/>
            <ac:spMk id="4" creationId="{00000000-0000-0000-0000-000000000000}"/>
          </ac:spMkLst>
        </pc:spChg>
      </pc:sldChg>
      <pc:sldChg chg="del">
        <pc:chgData name="Peter Selch Dahl" userId="2a8ce412-a5f6-41ff-9f56-c9e5c014459a" providerId="ADAL" clId="{70BA7881-8769-4549-A7E8-1E0DE30791E1}" dt="2020-01-21T00:28:34.420" v="1797" actId="2696"/>
        <pc:sldMkLst>
          <pc:docMk/>
          <pc:sldMk cId="3736565666" sldId="1705"/>
        </pc:sldMkLst>
      </pc:sldChg>
      <pc:sldChg chg="modNotes">
        <pc:chgData name="Peter Selch Dahl" userId="2a8ce412-a5f6-41ff-9f56-c9e5c014459a" providerId="ADAL" clId="{70BA7881-8769-4549-A7E8-1E0DE30791E1}" dt="2020-01-21T01:48:27.609" v="2140"/>
        <pc:sldMkLst>
          <pc:docMk/>
          <pc:sldMk cId="3933005780" sldId="1820"/>
        </pc:sldMkLst>
      </pc:sldChg>
      <pc:sldChg chg="add del">
        <pc:chgData name="Peter Selch Dahl" userId="2a8ce412-a5f6-41ff-9f56-c9e5c014459a" providerId="ADAL" clId="{70BA7881-8769-4549-A7E8-1E0DE30791E1}" dt="2020-01-20T22:10:28.912" v="1697" actId="2696"/>
        <pc:sldMkLst>
          <pc:docMk/>
          <pc:sldMk cId="2322664834" sldId="1893"/>
        </pc:sldMkLst>
      </pc:sldChg>
      <pc:sldChg chg="modNotes">
        <pc:chgData name="Peter Selch Dahl" userId="2a8ce412-a5f6-41ff-9f56-c9e5c014459a" providerId="ADAL" clId="{70BA7881-8769-4549-A7E8-1E0DE30791E1}" dt="2020-01-21T03:19:19.948" v="2215"/>
        <pc:sldMkLst>
          <pc:docMk/>
          <pc:sldMk cId="2696617632" sldId="1988"/>
        </pc:sldMkLst>
      </pc:sldChg>
      <pc:sldChg chg="modNotes">
        <pc:chgData name="Peter Selch Dahl" userId="2a8ce412-a5f6-41ff-9f56-c9e5c014459a" providerId="ADAL" clId="{70BA7881-8769-4549-A7E8-1E0DE30791E1}" dt="2020-01-21T03:19:21.145" v="2216"/>
        <pc:sldMkLst>
          <pc:docMk/>
          <pc:sldMk cId="1506082875" sldId="1991"/>
        </pc:sldMkLst>
      </pc:sldChg>
      <pc:sldChg chg="modNotes">
        <pc:chgData name="Peter Selch Dahl" userId="2a8ce412-a5f6-41ff-9f56-c9e5c014459a" providerId="ADAL" clId="{70BA7881-8769-4549-A7E8-1E0DE30791E1}" dt="2020-01-21T01:48:48.418" v="2141"/>
        <pc:sldMkLst>
          <pc:docMk/>
          <pc:sldMk cId="2438233783" sldId="1997"/>
        </pc:sldMkLst>
      </pc:sldChg>
      <pc:sldChg chg="modSp modNotes">
        <pc:chgData name="Peter Selch Dahl" userId="2a8ce412-a5f6-41ff-9f56-c9e5c014459a" providerId="ADAL" clId="{70BA7881-8769-4549-A7E8-1E0DE30791E1}" dt="2020-01-21T03:19:18.234" v="2214"/>
        <pc:sldMkLst>
          <pc:docMk/>
          <pc:sldMk cId="3697854501" sldId="2003"/>
        </pc:sldMkLst>
        <pc:spChg chg="mod">
          <ac:chgData name="Peter Selch Dahl" userId="2a8ce412-a5f6-41ff-9f56-c9e5c014459a" providerId="ADAL" clId="{70BA7881-8769-4549-A7E8-1E0DE30791E1}" dt="2020-01-21T03:19:08.220" v="2213" actId="20577"/>
          <ac:spMkLst>
            <pc:docMk/>
            <pc:sldMk cId="3697854501" sldId="2003"/>
            <ac:spMk id="3" creationId="{581EC334-7FE7-43F7-9191-1ECF72755501}"/>
          </ac:spMkLst>
        </pc:spChg>
      </pc:sldChg>
      <pc:sldChg chg="modNotes">
        <pc:chgData name="Peter Selch Dahl" userId="2a8ce412-a5f6-41ff-9f56-c9e5c014459a" providerId="ADAL" clId="{70BA7881-8769-4549-A7E8-1E0DE30791E1}" dt="2020-01-21T03:19:25.619" v="2217"/>
        <pc:sldMkLst>
          <pc:docMk/>
          <pc:sldMk cId="3274208606" sldId="2019"/>
        </pc:sldMkLst>
      </pc:sldChg>
      <pc:sldChg chg="del">
        <pc:chgData name="Peter Selch Dahl" userId="2a8ce412-a5f6-41ff-9f56-c9e5c014459a" providerId="ADAL" clId="{70BA7881-8769-4549-A7E8-1E0DE30791E1}" dt="2020-01-21T00:28:38.823" v="1802" actId="2696"/>
        <pc:sldMkLst>
          <pc:docMk/>
          <pc:sldMk cId="3180155263" sldId="3393"/>
        </pc:sldMkLst>
      </pc:sldChg>
      <pc:sldChg chg="addSp delSp modSp ord setBg modAnim modNotesTx">
        <pc:chgData name="Peter Selch Dahl" userId="2a8ce412-a5f6-41ff-9f56-c9e5c014459a" providerId="ADAL" clId="{70BA7881-8769-4549-A7E8-1E0DE30791E1}" dt="2020-01-20T21:48:06.350" v="1675"/>
        <pc:sldMkLst>
          <pc:docMk/>
          <pc:sldMk cId="1922335110" sldId="3412"/>
        </pc:sldMkLst>
        <pc:spChg chg="add del mod">
          <ac:chgData name="Peter Selch Dahl" userId="2a8ce412-a5f6-41ff-9f56-c9e5c014459a" providerId="ADAL" clId="{70BA7881-8769-4549-A7E8-1E0DE30791E1}" dt="2020-01-20T21:24:15.515" v="1668" actId="478"/>
          <ac:spMkLst>
            <pc:docMk/>
            <pc:sldMk cId="1922335110" sldId="3412"/>
            <ac:spMk id="2" creationId="{6F76CA35-0EB3-47E6-B133-77D9179A8E3C}"/>
          </ac:spMkLst>
        </pc:spChg>
        <pc:spChg chg="del">
          <ac:chgData name="Peter Selch Dahl" userId="2a8ce412-a5f6-41ff-9f56-c9e5c014459a" providerId="ADAL" clId="{70BA7881-8769-4549-A7E8-1E0DE30791E1}" dt="2020-01-20T21:24:14.061" v="1667" actId="478"/>
          <ac:spMkLst>
            <pc:docMk/>
            <pc:sldMk cId="1922335110" sldId="3412"/>
            <ac:spMk id="9" creationId="{F78DDCC0-5688-4E9E-86CA-8DA1CA4170E9}"/>
          </ac:spMkLst>
        </pc:spChg>
        <pc:spChg chg="del">
          <ac:chgData name="Peter Selch Dahl" userId="2a8ce412-a5f6-41ff-9f56-c9e5c014459a" providerId="ADAL" clId="{70BA7881-8769-4549-A7E8-1E0DE30791E1}" dt="2020-01-20T21:24:14.061" v="1667" actId="478"/>
          <ac:spMkLst>
            <pc:docMk/>
            <pc:sldMk cId="1922335110" sldId="3412"/>
            <ac:spMk id="17" creationId="{AEBE18E0-D5CD-45F7-8A5E-FF44B5DF8E76}"/>
          </ac:spMkLst>
        </pc:spChg>
        <pc:spChg chg="del">
          <ac:chgData name="Peter Selch Dahl" userId="2a8ce412-a5f6-41ff-9f56-c9e5c014459a" providerId="ADAL" clId="{70BA7881-8769-4549-A7E8-1E0DE30791E1}" dt="2020-01-20T21:24:14.061" v="1667" actId="478"/>
          <ac:spMkLst>
            <pc:docMk/>
            <pc:sldMk cId="1922335110" sldId="3412"/>
            <ac:spMk id="24" creationId="{4367FA2C-D796-4CB0-9EE4-00C85084D33D}"/>
          </ac:spMkLst>
        </pc:spChg>
        <pc:spChg chg="del">
          <ac:chgData name="Peter Selch Dahl" userId="2a8ce412-a5f6-41ff-9f56-c9e5c014459a" providerId="ADAL" clId="{70BA7881-8769-4549-A7E8-1E0DE30791E1}" dt="2020-01-20T21:24:14.061" v="1667" actId="478"/>
          <ac:spMkLst>
            <pc:docMk/>
            <pc:sldMk cId="1922335110" sldId="3412"/>
            <ac:spMk id="34" creationId="{5AB63635-0479-41B4-9724-BFCD995C75F2}"/>
          </ac:spMkLst>
        </pc:spChg>
        <pc:spChg chg="del">
          <ac:chgData name="Peter Selch Dahl" userId="2a8ce412-a5f6-41ff-9f56-c9e5c014459a" providerId="ADAL" clId="{70BA7881-8769-4549-A7E8-1E0DE30791E1}" dt="2020-01-20T21:24:14.061" v="1667" actId="478"/>
          <ac:spMkLst>
            <pc:docMk/>
            <pc:sldMk cId="1922335110" sldId="3412"/>
            <ac:spMk id="41" creationId="{2E1C053D-CE27-423F-9628-3426832C52AE}"/>
          </ac:spMkLst>
        </pc:spChg>
        <pc:spChg chg="del">
          <ac:chgData name="Peter Selch Dahl" userId="2a8ce412-a5f6-41ff-9f56-c9e5c014459a" providerId="ADAL" clId="{70BA7881-8769-4549-A7E8-1E0DE30791E1}" dt="2020-01-20T21:24:14.061" v="1667" actId="478"/>
          <ac:spMkLst>
            <pc:docMk/>
            <pc:sldMk cId="1922335110" sldId="3412"/>
            <ac:spMk id="43" creationId="{43C3CF75-C7B4-422A-B400-0C7C1A21FCAD}"/>
          </ac:spMkLst>
        </pc:spChg>
        <pc:spChg chg="del">
          <ac:chgData name="Peter Selch Dahl" userId="2a8ce412-a5f6-41ff-9f56-c9e5c014459a" providerId="ADAL" clId="{70BA7881-8769-4549-A7E8-1E0DE30791E1}" dt="2020-01-20T21:24:14.061" v="1667" actId="478"/>
          <ac:spMkLst>
            <pc:docMk/>
            <pc:sldMk cId="1922335110" sldId="3412"/>
            <ac:spMk id="44" creationId="{565A466B-F541-4DBB-A8B5-34C0FA840C6D}"/>
          </ac:spMkLst>
        </pc:spChg>
        <pc:spChg chg="del">
          <ac:chgData name="Peter Selch Dahl" userId="2a8ce412-a5f6-41ff-9f56-c9e5c014459a" providerId="ADAL" clId="{70BA7881-8769-4549-A7E8-1E0DE30791E1}" dt="2020-01-20T21:24:14.061" v="1667" actId="478"/>
          <ac:spMkLst>
            <pc:docMk/>
            <pc:sldMk cId="1922335110" sldId="3412"/>
            <ac:spMk id="54" creationId="{D2175DEC-1D0E-4DF6-97A5-B350AAC94304}"/>
          </ac:spMkLst>
        </pc:spChg>
        <pc:grpChg chg="del">
          <ac:chgData name="Peter Selch Dahl" userId="2a8ce412-a5f6-41ff-9f56-c9e5c014459a" providerId="ADAL" clId="{70BA7881-8769-4549-A7E8-1E0DE30791E1}" dt="2020-01-20T21:24:14.061" v="1667" actId="478"/>
          <ac:grpSpMkLst>
            <pc:docMk/>
            <pc:sldMk cId="1922335110" sldId="3412"/>
            <ac:grpSpMk id="23" creationId="{7A6FEE61-ADB1-4842-93E2-62EFF944E226}"/>
          </ac:grpSpMkLst>
        </pc:grpChg>
        <pc:grpChg chg="del">
          <ac:chgData name="Peter Selch Dahl" userId="2a8ce412-a5f6-41ff-9f56-c9e5c014459a" providerId="ADAL" clId="{70BA7881-8769-4549-A7E8-1E0DE30791E1}" dt="2020-01-20T21:24:14.061" v="1667" actId="478"/>
          <ac:grpSpMkLst>
            <pc:docMk/>
            <pc:sldMk cId="1922335110" sldId="3412"/>
            <ac:grpSpMk id="63" creationId="{D373377C-272A-4ABA-8889-6752FDF91D51}"/>
          </ac:grpSpMkLst>
        </pc:grpChg>
        <pc:grpChg chg="del">
          <ac:chgData name="Peter Selch Dahl" userId="2a8ce412-a5f6-41ff-9f56-c9e5c014459a" providerId="ADAL" clId="{70BA7881-8769-4549-A7E8-1E0DE30791E1}" dt="2020-01-20T21:24:14.061" v="1667" actId="478"/>
          <ac:grpSpMkLst>
            <pc:docMk/>
            <pc:sldMk cId="1922335110" sldId="3412"/>
            <ac:grpSpMk id="64" creationId="{72CE75B2-B5CF-4B40-8BE2-8099FD396404}"/>
          </ac:grpSpMkLst>
        </pc:grpChg>
        <pc:grpChg chg="del">
          <ac:chgData name="Peter Selch Dahl" userId="2a8ce412-a5f6-41ff-9f56-c9e5c014459a" providerId="ADAL" clId="{70BA7881-8769-4549-A7E8-1E0DE30791E1}" dt="2020-01-20T21:24:14.061" v="1667" actId="478"/>
          <ac:grpSpMkLst>
            <pc:docMk/>
            <pc:sldMk cId="1922335110" sldId="3412"/>
            <ac:grpSpMk id="65" creationId="{315F44D4-CA65-4739-B04D-0ED99B30033E}"/>
          </ac:grpSpMkLst>
        </pc:grpChg>
        <pc:grpChg chg="del">
          <ac:chgData name="Peter Selch Dahl" userId="2a8ce412-a5f6-41ff-9f56-c9e5c014459a" providerId="ADAL" clId="{70BA7881-8769-4549-A7E8-1E0DE30791E1}" dt="2020-01-20T21:24:14.061" v="1667" actId="478"/>
          <ac:grpSpMkLst>
            <pc:docMk/>
            <pc:sldMk cId="1922335110" sldId="3412"/>
            <ac:grpSpMk id="66" creationId="{10D17C29-43DC-40E2-9CD2-1986478A4529}"/>
          </ac:grpSpMkLst>
        </pc:grpChg>
        <pc:picChg chg="add del">
          <ac:chgData name="Peter Selch Dahl" userId="2a8ce412-a5f6-41ff-9f56-c9e5c014459a" providerId="ADAL" clId="{70BA7881-8769-4549-A7E8-1E0DE30791E1}" dt="2020-01-20T21:24:34.162" v="1673" actId="478"/>
          <ac:picMkLst>
            <pc:docMk/>
            <pc:sldMk cId="1922335110" sldId="3412"/>
            <ac:picMk id="4" creationId="{44001A97-10A7-44F0-AA23-3D90515D74B3}"/>
          </ac:picMkLst>
        </pc:picChg>
      </pc:sldChg>
      <pc:sldChg chg="addSp modSp modAnim modNotes">
        <pc:chgData name="Peter Selch Dahl" userId="2a8ce412-a5f6-41ff-9f56-c9e5c014459a" providerId="ADAL" clId="{70BA7881-8769-4549-A7E8-1E0DE30791E1}" dt="2020-01-21T00:24:19.077" v="1783"/>
        <pc:sldMkLst>
          <pc:docMk/>
          <pc:sldMk cId="1821520053" sldId="3888"/>
        </pc:sldMkLst>
        <pc:spChg chg="mod">
          <ac:chgData name="Peter Selch Dahl" userId="2a8ce412-a5f6-41ff-9f56-c9e5c014459a" providerId="ADAL" clId="{70BA7881-8769-4549-A7E8-1E0DE30791E1}" dt="2020-01-21T00:19:17.293" v="1715" actId="20577"/>
          <ac:spMkLst>
            <pc:docMk/>
            <pc:sldMk cId="1821520053" sldId="3888"/>
            <ac:spMk id="2" creationId="{8251E3B6-6D1B-421B-8F2E-D2AF76E4AF2B}"/>
          </ac:spMkLst>
        </pc:spChg>
        <pc:spChg chg="add mod">
          <ac:chgData name="Peter Selch Dahl" userId="2a8ce412-a5f6-41ff-9f56-c9e5c014459a" providerId="ADAL" clId="{70BA7881-8769-4549-A7E8-1E0DE30791E1}" dt="2020-01-21T00:20:57.544" v="1759" actId="5793"/>
          <ac:spMkLst>
            <pc:docMk/>
            <pc:sldMk cId="1821520053" sldId="3888"/>
            <ac:spMk id="29" creationId="{F54CA569-7905-4ADA-8DD2-EF7CC5A7A937}"/>
          </ac:spMkLst>
        </pc:spChg>
        <pc:spChg chg="mod">
          <ac:chgData name="Peter Selch Dahl" userId="2a8ce412-a5f6-41ff-9f56-c9e5c014459a" providerId="ADAL" clId="{70BA7881-8769-4549-A7E8-1E0DE30791E1}" dt="2020-01-21T00:20:14.758" v="1716" actId="14100"/>
          <ac:spMkLst>
            <pc:docMk/>
            <pc:sldMk cId="1821520053" sldId="3888"/>
            <ac:spMk id="31" creationId="{D95FF0C5-3552-4E3E-A081-2DB160FF14C7}"/>
          </ac:spMkLst>
        </pc:spChg>
        <pc:spChg chg="add mod">
          <ac:chgData name="Peter Selch Dahl" userId="2a8ce412-a5f6-41ff-9f56-c9e5c014459a" providerId="ADAL" clId="{70BA7881-8769-4549-A7E8-1E0DE30791E1}" dt="2020-01-21T00:24:13.855" v="1782" actId="20577"/>
          <ac:spMkLst>
            <pc:docMk/>
            <pc:sldMk cId="1821520053" sldId="3888"/>
            <ac:spMk id="32" creationId="{1B820161-4C74-4251-91A4-4D2B9C883A85}"/>
          </ac:spMkLst>
        </pc:spChg>
      </pc:sldChg>
      <pc:sldChg chg="add del">
        <pc:chgData name="Peter Selch Dahl" userId="2a8ce412-a5f6-41ff-9f56-c9e5c014459a" providerId="ADAL" clId="{70BA7881-8769-4549-A7E8-1E0DE30791E1}" dt="2020-01-21T01:52:15.166" v="2144"/>
        <pc:sldMkLst>
          <pc:docMk/>
          <pc:sldMk cId="3794968871" sldId="3902"/>
        </pc:sldMkLst>
      </pc:sldChg>
      <pc:sldChg chg="modNotes">
        <pc:chgData name="Peter Selch Dahl" userId="2a8ce412-a5f6-41ff-9f56-c9e5c014459a" providerId="ADAL" clId="{70BA7881-8769-4549-A7E8-1E0DE30791E1}" dt="2020-01-21T01:48:50.250" v="2142"/>
        <pc:sldMkLst>
          <pc:docMk/>
          <pc:sldMk cId="64174571" sldId="3910"/>
        </pc:sldMkLst>
      </pc:sldChg>
      <pc:sldChg chg="add del">
        <pc:chgData name="Peter Selch Dahl" userId="2a8ce412-a5f6-41ff-9f56-c9e5c014459a" providerId="ADAL" clId="{70BA7881-8769-4549-A7E8-1E0DE30791E1}" dt="2020-01-21T00:30:11.156" v="1805" actId="2696"/>
        <pc:sldMkLst>
          <pc:docMk/>
          <pc:sldMk cId="1361269808" sldId="4187"/>
        </pc:sldMkLst>
      </pc:sldChg>
      <pc:sldChg chg="modSp modAnim">
        <pc:chgData name="Peter Selch Dahl" userId="2a8ce412-a5f6-41ff-9f56-c9e5c014459a" providerId="ADAL" clId="{70BA7881-8769-4549-A7E8-1E0DE30791E1}" dt="2020-01-20T21:13:13.442" v="1651" actId="20577"/>
        <pc:sldMkLst>
          <pc:docMk/>
          <pc:sldMk cId="2495892517" sldId="5708"/>
        </pc:sldMkLst>
        <pc:spChg chg="mod">
          <ac:chgData name="Peter Selch Dahl" userId="2a8ce412-a5f6-41ff-9f56-c9e5c014459a" providerId="ADAL" clId="{70BA7881-8769-4549-A7E8-1E0DE30791E1}" dt="2020-01-20T21:12:48.872" v="1582" actId="20577"/>
          <ac:spMkLst>
            <pc:docMk/>
            <pc:sldMk cId="2495892517" sldId="5708"/>
            <ac:spMk id="6" creationId="{C517BB91-66DC-44D0-A2BA-C367D27D915C}"/>
          </ac:spMkLst>
        </pc:spChg>
        <pc:spChg chg="mod">
          <ac:chgData name="Peter Selch Dahl" userId="2a8ce412-a5f6-41ff-9f56-c9e5c014459a" providerId="ADAL" clId="{70BA7881-8769-4549-A7E8-1E0DE30791E1}" dt="2020-01-20T21:13:13.442" v="1651" actId="20577"/>
          <ac:spMkLst>
            <pc:docMk/>
            <pc:sldMk cId="2495892517" sldId="5708"/>
            <ac:spMk id="9" creationId="{002B413C-D57A-467F-B2FB-CC2CEEEC2383}"/>
          </ac:spMkLst>
        </pc:spChg>
      </pc:sldChg>
      <pc:sldChg chg="add del">
        <pc:chgData name="Peter Selch Dahl" userId="2a8ce412-a5f6-41ff-9f56-c9e5c014459a" providerId="ADAL" clId="{70BA7881-8769-4549-A7E8-1E0DE30791E1}" dt="2020-01-20T21:16:55.800" v="1665" actId="2696"/>
        <pc:sldMkLst>
          <pc:docMk/>
          <pc:sldMk cId="3772767523" sldId="5968"/>
        </pc:sldMkLst>
      </pc:sldChg>
      <pc:sldChg chg="del">
        <pc:chgData name="Peter Selch Dahl" userId="2a8ce412-a5f6-41ff-9f56-c9e5c014459a" providerId="ADAL" clId="{70BA7881-8769-4549-A7E8-1E0DE30791E1}" dt="2020-01-21T00:28:16.411" v="1790" actId="2696"/>
        <pc:sldMkLst>
          <pc:docMk/>
          <pc:sldMk cId="635670573" sldId="8449"/>
        </pc:sldMkLst>
      </pc:sldChg>
      <pc:sldChg chg="del">
        <pc:chgData name="Peter Selch Dahl" userId="2a8ce412-a5f6-41ff-9f56-c9e5c014459a" providerId="ADAL" clId="{70BA7881-8769-4549-A7E8-1E0DE30791E1}" dt="2020-01-21T00:47:47.067" v="1824" actId="2696"/>
        <pc:sldMkLst>
          <pc:docMk/>
          <pc:sldMk cId="4041583724" sldId="8492"/>
        </pc:sldMkLst>
      </pc:sldChg>
      <pc:sldChg chg="del">
        <pc:chgData name="Peter Selch Dahl" userId="2a8ce412-a5f6-41ff-9f56-c9e5c014459a" providerId="ADAL" clId="{70BA7881-8769-4549-A7E8-1E0DE30791E1}" dt="2020-01-21T00:27:43.672" v="1785" actId="2696"/>
        <pc:sldMkLst>
          <pc:docMk/>
          <pc:sldMk cId="3605226022" sldId="9111"/>
        </pc:sldMkLst>
      </pc:sldChg>
      <pc:sldChg chg="del">
        <pc:chgData name="Peter Selch Dahl" userId="2a8ce412-a5f6-41ff-9f56-c9e5c014459a" providerId="ADAL" clId="{70BA7881-8769-4549-A7E8-1E0DE30791E1}" dt="2020-01-21T00:28:37.406" v="1800" actId="2696"/>
        <pc:sldMkLst>
          <pc:docMk/>
          <pc:sldMk cId="4250227633" sldId="9116"/>
        </pc:sldMkLst>
      </pc:sldChg>
      <pc:sldChg chg="del">
        <pc:chgData name="Peter Selch Dahl" userId="2a8ce412-a5f6-41ff-9f56-c9e5c014459a" providerId="ADAL" clId="{70BA7881-8769-4549-A7E8-1E0DE30791E1}" dt="2020-01-21T00:27:47.802" v="1786" actId="2696"/>
        <pc:sldMkLst>
          <pc:docMk/>
          <pc:sldMk cId="4119468198" sldId="9117"/>
        </pc:sldMkLst>
      </pc:sldChg>
      <pc:sldChg chg="del">
        <pc:chgData name="Peter Selch Dahl" userId="2a8ce412-a5f6-41ff-9f56-c9e5c014459a" providerId="ADAL" clId="{70BA7881-8769-4549-A7E8-1E0DE30791E1}" dt="2020-01-21T00:27:57.996" v="1788" actId="2696"/>
        <pc:sldMkLst>
          <pc:docMk/>
          <pc:sldMk cId="822808475" sldId="9118"/>
        </pc:sldMkLst>
      </pc:sldChg>
      <pc:sldChg chg="del">
        <pc:chgData name="Peter Selch Dahl" userId="2a8ce412-a5f6-41ff-9f56-c9e5c014459a" providerId="ADAL" clId="{70BA7881-8769-4549-A7E8-1E0DE30791E1}" dt="2020-01-21T00:27:53.035" v="1787" actId="2696"/>
        <pc:sldMkLst>
          <pc:docMk/>
          <pc:sldMk cId="1892217380" sldId="9119"/>
        </pc:sldMkLst>
      </pc:sldChg>
      <pc:sldChg chg="addSp delSp modSp add modAnim">
        <pc:chgData name="Peter Selch Dahl" userId="2a8ce412-a5f6-41ff-9f56-c9e5c014459a" providerId="ADAL" clId="{70BA7881-8769-4549-A7E8-1E0DE30791E1}" dt="2020-01-21T02:03:26.023" v="2192" actId="20577"/>
        <pc:sldMkLst>
          <pc:docMk/>
          <pc:sldMk cId="697226855" sldId="10783"/>
        </pc:sldMkLst>
        <pc:spChg chg="add del mod">
          <ac:chgData name="Peter Selch Dahl" userId="2a8ce412-a5f6-41ff-9f56-c9e5c014459a" providerId="ADAL" clId="{70BA7881-8769-4549-A7E8-1E0DE30791E1}" dt="2020-01-21T02:03:17.409" v="2174" actId="20577"/>
          <ac:spMkLst>
            <pc:docMk/>
            <pc:sldMk cId="697226855" sldId="10783"/>
            <ac:spMk id="4" creationId="{4EFDE48F-E042-43E3-8D05-B81A7B6B329F}"/>
          </ac:spMkLst>
        </pc:spChg>
        <pc:spChg chg="mod">
          <ac:chgData name="Peter Selch Dahl" userId="2a8ce412-a5f6-41ff-9f56-c9e5c014459a" providerId="ADAL" clId="{70BA7881-8769-4549-A7E8-1E0DE30791E1}" dt="2020-01-21T02:03:26.023" v="2192" actId="20577"/>
          <ac:spMkLst>
            <pc:docMk/>
            <pc:sldMk cId="697226855" sldId="10783"/>
            <ac:spMk id="7" creationId="{B7E17EB5-6564-4802-A58D-4CA74FF60602}"/>
          </ac:spMkLst>
        </pc:spChg>
        <pc:grpChg chg="add">
          <ac:chgData name="Peter Selch Dahl" userId="2a8ce412-a5f6-41ff-9f56-c9e5c014459a" providerId="ADAL" clId="{70BA7881-8769-4549-A7E8-1E0DE30791E1}" dt="2020-01-21T02:03:19.771" v="2175"/>
          <ac:grpSpMkLst>
            <pc:docMk/>
            <pc:sldMk cId="697226855" sldId="10783"/>
            <ac:grpSpMk id="5" creationId="{B6782970-470F-446B-9976-B47E7AC73864}"/>
          </ac:grpSpMkLst>
        </pc:grpChg>
      </pc:sldChg>
      <pc:sldChg chg="ord">
        <pc:chgData name="Peter Selch Dahl" userId="2a8ce412-a5f6-41ff-9f56-c9e5c014459a" providerId="ADAL" clId="{70BA7881-8769-4549-A7E8-1E0DE30791E1}" dt="2020-01-21T01:59:21.996" v="2146"/>
        <pc:sldMkLst>
          <pc:docMk/>
          <pc:sldMk cId="1180968531" sldId="10796"/>
        </pc:sldMkLst>
      </pc:sldChg>
      <pc:sldChg chg="ord">
        <pc:chgData name="Peter Selch Dahl" userId="2a8ce412-a5f6-41ff-9f56-c9e5c014459a" providerId="ADAL" clId="{70BA7881-8769-4549-A7E8-1E0DE30791E1}" dt="2020-01-21T01:59:21.996" v="2146"/>
        <pc:sldMkLst>
          <pc:docMk/>
          <pc:sldMk cId="46371426" sldId="10797"/>
        </pc:sldMkLst>
      </pc:sldChg>
      <pc:sldChg chg="ord">
        <pc:chgData name="Peter Selch Dahl" userId="2a8ce412-a5f6-41ff-9f56-c9e5c014459a" providerId="ADAL" clId="{70BA7881-8769-4549-A7E8-1E0DE30791E1}" dt="2020-01-21T01:59:21.996" v="2146"/>
        <pc:sldMkLst>
          <pc:docMk/>
          <pc:sldMk cId="2561156616" sldId="10798"/>
        </pc:sldMkLst>
      </pc:sldChg>
      <pc:sldChg chg="add">
        <pc:chgData name="Peter Selch Dahl" userId="2a8ce412-a5f6-41ff-9f56-c9e5c014459a" providerId="ADAL" clId="{70BA7881-8769-4549-A7E8-1E0DE30791E1}" dt="2020-01-21T02:01:46.940" v="2149"/>
        <pc:sldMkLst>
          <pc:docMk/>
          <pc:sldMk cId="123341882" sldId="10824"/>
        </pc:sldMkLst>
      </pc:sldChg>
      <pc:sldChg chg="add">
        <pc:chgData name="Peter Selch Dahl" userId="2a8ce412-a5f6-41ff-9f56-c9e5c014459a" providerId="ADAL" clId="{70BA7881-8769-4549-A7E8-1E0DE30791E1}" dt="2020-01-21T02:01:46.940" v="2149"/>
        <pc:sldMkLst>
          <pc:docMk/>
          <pc:sldMk cId="3109730161" sldId="10825"/>
        </pc:sldMkLst>
      </pc:sldChg>
      <pc:sldChg chg="del">
        <pc:chgData name="Peter Selch Dahl" userId="2a8ce412-a5f6-41ff-9f56-c9e5c014459a" providerId="ADAL" clId="{70BA7881-8769-4549-A7E8-1E0DE30791E1}" dt="2020-01-21T00:31:23.009" v="1806" actId="2696"/>
        <pc:sldMkLst>
          <pc:docMk/>
          <pc:sldMk cId="1983014689" sldId="2076135932"/>
        </pc:sldMkLst>
      </pc:sldChg>
      <pc:sldChg chg="ord">
        <pc:chgData name="Peter Selch Dahl" userId="2a8ce412-a5f6-41ff-9f56-c9e5c014459a" providerId="ADAL" clId="{70BA7881-8769-4549-A7E8-1E0DE30791E1}" dt="2020-01-21T00:31:34.131" v="1807"/>
        <pc:sldMkLst>
          <pc:docMk/>
          <pc:sldMk cId="2691996748" sldId="2076135938"/>
        </pc:sldMkLst>
      </pc:sldChg>
      <pc:sldChg chg="addSp delSp modSp del">
        <pc:chgData name="Peter Selch Dahl" userId="2a8ce412-a5f6-41ff-9f56-c9e5c014459a" providerId="ADAL" clId="{70BA7881-8769-4549-A7E8-1E0DE30791E1}" dt="2020-01-20T20:22:12.237" v="997" actId="2696"/>
        <pc:sldMkLst>
          <pc:docMk/>
          <pc:sldMk cId="1912622331" sldId="2076135968"/>
        </pc:sldMkLst>
        <pc:spChg chg="mod">
          <ac:chgData name="Peter Selch Dahl" userId="2a8ce412-a5f6-41ff-9f56-c9e5c014459a" providerId="ADAL" clId="{70BA7881-8769-4549-A7E8-1E0DE30791E1}" dt="2020-01-19T19:01:03.443" v="149"/>
          <ac:spMkLst>
            <pc:docMk/>
            <pc:sldMk cId="1912622331" sldId="2076135968"/>
            <ac:spMk id="2" creationId="{00000000-0000-0000-0000-000000000000}"/>
          </ac:spMkLst>
        </pc:spChg>
        <pc:spChg chg="mod">
          <ac:chgData name="Peter Selch Dahl" userId="2a8ce412-a5f6-41ff-9f56-c9e5c014459a" providerId="ADAL" clId="{70BA7881-8769-4549-A7E8-1E0DE30791E1}" dt="2020-01-20T19:46:02.130" v="251" actId="20577"/>
          <ac:spMkLst>
            <pc:docMk/>
            <pc:sldMk cId="1912622331" sldId="2076135968"/>
            <ac:spMk id="18" creationId="{A7B1B057-4E6A-4BEF-BCCC-732B4D9F6F17}"/>
          </ac:spMkLst>
        </pc:spChg>
        <pc:graphicFrameChg chg="add del modGraphic">
          <ac:chgData name="Peter Selch Dahl" userId="2a8ce412-a5f6-41ff-9f56-c9e5c014459a" providerId="ADAL" clId="{70BA7881-8769-4549-A7E8-1E0DE30791E1}" dt="2020-01-20T19:56:55.675" v="574" actId="478"/>
          <ac:graphicFrameMkLst>
            <pc:docMk/>
            <pc:sldMk cId="1912622331" sldId="2076135968"/>
            <ac:graphicFrameMk id="6" creationId="{CD3DA1A2-6373-4AA8-A488-6DD33A2CCB58}"/>
          </ac:graphicFrameMkLst>
        </pc:graphicFrameChg>
        <pc:graphicFrameChg chg="modGraphic">
          <ac:chgData name="Peter Selch Dahl" userId="2a8ce412-a5f6-41ff-9f56-c9e5c014459a" providerId="ADAL" clId="{70BA7881-8769-4549-A7E8-1E0DE30791E1}" dt="2020-01-20T19:44:49.763" v="223" actId="14734"/>
          <ac:graphicFrameMkLst>
            <pc:docMk/>
            <pc:sldMk cId="1912622331" sldId="2076135968"/>
            <ac:graphicFrameMk id="7" creationId="{00000000-0000-0000-0000-000000000000}"/>
          </ac:graphicFrameMkLst>
        </pc:graphicFrameChg>
      </pc:sldChg>
      <pc:sldChg chg="modSp">
        <pc:chgData name="Peter Selch Dahl" userId="2a8ce412-a5f6-41ff-9f56-c9e5c014459a" providerId="ADAL" clId="{70BA7881-8769-4549-A7E8-1E0DE30791E1}" dt="2020-01-20T21:02:56.948" v="1467" actId="20577"/>
        <pc:sldMkLst>
          <pc:docMk/>
          <pc:sldMk cId="776579920" sldId="2076135969"/>
        </pc:sldMkLst>
        <pc:spChg chg="mod">
          <ac:chgData name="Peter Selch Dahl" userId="2a8ce412-a5f6-41ff-9f56-c9e5c014459a" providerId="ADAL" clId="{70BA7881-8769-4549-A7E8-1E0DE30791E1}" dt="2020-01-19T19:01:06.624" v="150"/>
          <ac:spMkLst>
            <pc:docMk/>
            <pc:sldMk cId="776579920" sldId="2076135969"/>
            <ac:spMk id="2" creationId="{00000000-0000-0000-0000-000000000000}"/>
          </ac:spMkLst>
        </pc:spChg>
        <pc:spChg chg="mod">
          <ac:chgData name="Peter Selch Dahl" userId="2a8ce412-a5f6-41ff-9f56-c9e5c014459a" providerId="ADAL" clId="{70BA7881-8769-4549-A7E8-1E0DE30791E1}" dt="2020-01-20T19:57:14.741" v="577" actId="20577"/>
          <ac:spMkLst>
            <pc:docMk/>
            <pc:sldMk cId="776579920" sldId="2076135969"/>
            <ac:spMk id="9" creationId="{B8316BAE-98BB-45B0-91C9-DAC7A82FD94B}"/>
          </ac:spMkLst>
        </pc:spChg>
        <pc:graphicFrameChg chg="mod modGraphic">
          <ac:chgData name="Peter Selch Dahl" userId="2a8ce412-a5f6-41ff-9f56-c9e5c014459a" providerId="ADAL" clId="{70BA7881-8769-4549-A7E8-1E0DE30791E1}" dt="2020-01-20T21:02:56.948" v="1467" actId="20577"/>
          <ac:graphicFrameMkLst>
            <pc:docMk/>
            <pc:sldMk cId="776579920" sldId="2076135969"/>
            <ac:graphicFrameMk id="10" creationId="{BBC299A1-301D-4B69-A0F3-64C632FD3244}"/>
          </ac:graphicFrameMkLst>
        </pc:graphicFrameChg>
        <pc:graphicFrameChg chg="modGraphic">
          <ac:chgData name="Peter Selch Dahl" userId="2a8ce412-a5f6-41ff-9f56-c9e5c014459a" providerId="ADAL" clId="{70BA7881-8769-4549-A7E8-1E0DE30791E1}" dt="2020-01-20T19:52:24.011" v="450" actId="14734"/>
          <ac:graphicFrameMkLst>
            <pc:docMk/>
            <pc:sldMk cId="776579920" sldId="2076135969"/>
            <ac:graphicFrameMk id="12" creationId="{CD681FA1-51F6-44F8-A90C-69F2BB5565C0}"/>
          </ac:graphicFrameMkLst>
        </pc:graphicFrameChg>
      </pc:sldChg>
      <pc:sldChg chg="del">
        <pc:chgData name="Peter Selch Dahl" userId="2a8ce412-a5f6-41ff-9f56-c9e5c014459a" providerId="ADAL" clId="{70BA7881-8769-4549-A7E8-1E0DE30791E1}" dt="2020-01-21T00:28:33.130" v="1796" actId="2696"/>
        <pc:sldMkLst>
          <pc:docMk/>
          <pc:sldMk cId="3180046679" sldId="2076135973"/>
        </pc:sldMkLst>
      </pc:sldChg>
      <pc:sldChg chg="add del">
        <pc:chgData name="Peter Selch Dahl" userId="2a8ce412-a5f6-41ff-9f56-c9e5c014459a" providerId="ADAL" clId="{70BA7881-8769-4549-A7E8-1E0DE30791E1}" dt="2020-01-21T00:27:41.440" v="1784" actId="2696"/>
        <pc:sldMkLst>
          <pc:docMk/>
          <pc:sldMk cId="1343304711" sldId="2076135980"/>
        </pc:sldMkLst>
      </pc:sldChg>
      <pc:sldChg chg="add del">
        <pc:chgData name="Peter Selch Dahl" userId="2a8ce412-a5f6-41ff-9f56-c9e5c014459a" providerId="ADAL" clId="{70BA7881-8769-4549-A7E8-1E0DE30791E1}" dt="2020-01-21T00:28:28.739" v="1794" actId="2696"/>
        <pc:sldMkLst>
          <pc:docMk/>
          <pc:sldMk cId="3919443983" sldId="2076135982"/>
        </pc:sldMkLst>
      </pc:sldChg>
      <pc:sldChg chg="del">
        <pc:chgData name="Peter Selch Dahl" userId="2a8ce412-a5f6-41ff-9f56-c9e5c014459a" providerId="ADAL" clId="{70BA7881-8769-4549-A7E8-1E0DE30791E1}" dt="2020-01-21T00:28:26.534" v="1793" actId="2696"/>
        <pc:sldMkLst>
          <pc:docMk/>
          <pc:sldMk cId="2125230738" sldId="2076135987"/>
        </pc:sldMkLst>
      </pc:sldChg>
      <pc:sldChg chg="del">
        <pc:chgData name="Peter Selch Dahl" userId="2a8ce412-a5f6-41ff-9f56-c9e5c014459a" providerId="ADAL" clId="{70BA7881-8769-4549-A7E8-1E0DE30791E1}" dt="2020-01-21T00:28:31.840" v="1795" actId="2696"/>
        <pc:sldMkLst>
          <pc:docMk/>
          <pc:sldMk cId="1395687508" sldId="2076135988"/>
        </pc:sldMkLst>
      </pc:sldChg>
      <pc:sldChg chg="add del">
        <pc:chgData name="Peter Selch Dahl" userId="2a8ce412-a5f6-41ff-9f56-c9e5c014459a" providerId="ADAL" clId="{70BA7881-8769-4549-A7E8-1E0DE30791E1}" dt="2020-01-21T00:28:36.370" v="1799" actId="2696"/>
        <pc:sldMkLst>
          <pc:docMk/>
          <pc:sldMk cId="826833978" sldId="2076135989"/>
        </pc:sldMkLst>
      </pc:sldChg>
      <pc:sldChg chg="del">
        <pc:chgData name="Peter Selch Dahl" userId="2a8ce412-a5f6-41ff-9f56-c9e5c014459a" providerId="ADAL" clId="{70BA7881-8769-4549-A7E8-1E0DE30791E1}" dt="2020-01-21T00:28:04.456" v="1789" actId="2696"/>
        <pc:sldMkLst>
          <pc:docMk/>
          <pc:sldMk cId="2668341421" sldId="2076135990"/>
        </pc:sldMkLst>
      </pc:sldChg>
      <pc:sldChg chg="addSp modSp add del">
        <pc:chgData name="Peter Selch Dahl" userId="2a8ce412-a5f6-41ff-9f56-c9e5c014459a" providerId="ADAL" clId="{70BA7881-8769-4549-A7E8-1E0DE30791E1}" dt="2020-01-21T01:41:42.592" v="2122" actId="1076"/>
        <pc:sldMkLst>
          <pc:docMk/>
          <pc:sldMk cId="753765739" sldId="2076136044"/>
        </pc:sldMkLst>
        <pc:spChg chg="add mod">
          <ac:chgData name="Peter Selch Dahl" userId="2a8ce412-a5f6-41ff-9f56-c9e5c014459a" providerId="ADAL" clId="{70BA7881-8769-4549-A7E8-1E0DE30791E1}" dt="2020-01-21T01:41:42.592" v="2122" actId="1076"/>
          <ac:spMkLst>
            <pc:docMk/>
            <pc:sldMk cId="753765739" sldId="2076136044"/>
            <ac:spMk id="10" creationId="{35EE21BB-00F6-44CD-A1A2-39B791A1F401}"/>
          </ac:spMkLst>
        </pc:spChg>
      </pc:sldChg>
      <pc:sldChg chg="add del">
        <pc:chgData name="Peter Selch Dahl" userId="2a8ce412-a5f6-41ff-9f56-c9e5c014459a" providerId="ADAL" clId="{70BA7881-8769-4549-A7E8-1E0DE30791E1}" dt="2020-01-20T21:16:56.869" v="1666" actId="2696"/>
        <pc:sldMkLst>
          <pc:docMk/>
          <pc:sldMk cId="2235107743" sldId="2076136482"/>
        </pc:sldMkLst>
      </pc:sldChg>
      <pc:sldChg chg="add del">
        <pc:chgData name="Peter Selch Dahl" userId="2a8ce412-a5f6-41ff-9f56-c9e5c014459a" providerId="ADAL" clId="{70BA7881-8769-4549-A7E8-1E0DE30791E1}" dt="2020-01-20T21:16:53.332" v="1664" actId="2696"/>
        <pc:sldMkLst>
          <pc:docMk/>
          <pc:sldMk cId="1932171451" sldId="2076136493"/>
        </pc:sldMkLst>
      </pc:sldChg>
      <pc:sldChg chg="modSp add">
        <pc:chgData name="Peter Selch Dahl" userId="2a8ce412-a5f6-41ff-9f56-c9e5c014459a" providerId="ADAL" clId="{70BA7881-8769-4549-A7E8-1E0DE30791E1}" dt="2020-01-20T21:05:44.798" v="1553" actId="20577"/>
        <pc:sldMkLst>
          <pc:docMk/>
          <pc:sldMk cId="2454690655" sldId="2076136494"/>
        </pc:sldMkLst>
        <pc:graphicFrameChg chg="mod modGraphic">
          <ac:chgData name="Peter Selch Dahl" userId="2a8ce412-a5f6-41ff-9f56-c9e5c014459a" providerId="ADAL" clId="{70BA7881-8769-4549-A7E8-1E0DE30791E1}" dt="2020-01-20T21:05:44.798" v="1553" actId="20577"/>
          <ac:graphicFrameMkLst>
            <pc:docMk/>
            <pc:sldMk cId="2454690655" sldId="2076136494"/>
            <ac:graphicFrameMk id="10" creationId="{BBC299A1-301D-4B69-A0F3-64C632FD3244}"/>
          </ac:graphicFrameMkLst>
        </pc:graphicFrameChg>
      </pc:sldChg>
      <pc:sldChg chg="addSp delSp modSp add">
        <pc:chgData name="Peter Selch Dahl" userId="2a8ce412-a5f6-41ff-9f56-c9e5c014459a" providerId="ADAL" clId="{70BA7881-8769-4549-A7E8-1E0DE30791E1}" dt="2020-01-20T20:21:51.155" v="996" actId="1076"/>
        <pc:sldMkLst>
          <pc:docMk/>
          <pc:sldMk cId="3297466731" sldId="2076136495"/>
        </pc:sldMkLst>
        <pc:spChg chg="mod">
          <ac:chgData name="Peter Selch Dahl" userId="2a8ce412-a5f6-41ff-9f56-c9e5c014459a" providerId="ADAL" clId="{70BA7881-8769-4549-A7E8-1E0DE30791E1}" dt="2020-01-20T20:17:24.854" v="858" actId="20577"/>
          <ac:spMkLst>
            <pc:docMk/>
            <pc:sldMk cId="3297466731" sldId="2076136495"/>
            <ac:spMk id="2" creationId="{00000000-0000-0000-0000-000000000000}"/>
          </ac:spMkLst>
        </pc:spChg>
        <pc:spChg chg="mod">
          <ac:chgData name="Peter Selch Dahl" userId="2a8ce412-a5f6-41ff-9f56-c9e5c014459a" providerId="ADAL" clId="{70BA7881-8769-4549-A7E8-1E0DE30791E1}" dt="2020-01-20T20:18:43.069" v="869" actId="1076"/>
          <ac:spMkLst>
            <pc:docMk/>
            <pc:sldMk cId="3297466731" sldId="2076136495"/>
            <ac:spMk id="5" creationId="{065D342F-E711-49D2-BFBF-F2F8887C99F1}"/>
          </ac:spMkLst>
        </pc:spChg>
        <pc:spChg chg="del mod">
          <ac:chgData name="Peter Selch Dahl" userId="2a8ce412-a5f6-41ff-9f56-c9e5c014459a" providerId="ADAL" clId="{70BA7881-8769-4549-A7E8-1E0DE30791E1}" dt="2020-01-20T20:20:51.784" v="891"/>
          <ac:spMkLst>
            <pc:docMk/>
            <pc:sldMk cId="3297466731" sldId="2076136495"/>
            <ac:spMk id="9" creationId="{B8316BAE-98BB-45B0-91C9-DAC7A82FD94B}"/>
          </ac:spMkLst>
        </pc:spChg>
        <pc:graphicFrameChg chg="del">
          <ac:chgData name="Peter Selch Dahl" userId="2a8ce412-a5f6-41ff-9f56-c9e5c014459a" providerId="ADAL" clId="{70BA7881-8769-4549-A7E8-1E0DE30791E1}" dt="2020-01-20T20:17:35.288" v="860" actId="478"/>
          <ac:graphicFrameMkLst>
            <pc:docMk/>
            <pc:sldMk cId="3297466731" sldId="2076136495"/>
            <ac:graphicFrameMk id="10" creationId="{BBC299A1-301D-4B69-A0F3-64C632FD3244}"/>
          </ac:graphicFrameMkLst>
        </pc:graphicFrameChg>
        <pc:graphicFrameChg chg="del">
          <ac:chgData name="Peter Selch Dahl" userId="2a8ce412-a5f6-41ff-9f56-c9e5c014459a" providerId="ADAL" clId="{70BA7881-8769-4549-A7E8-1E0DE30791E1}" dt="2020-01-20T20:17:32.735" v="859" actId="478"/>
          <ac:graphicFrameMkLst>
            <pc:docMk/>
            <pc:sldMk cId="3297466731" sldId="2076136495"/>
            <ac:graphicFrameMk id="12" creationId="{CD681FA1-51F6-44F8-A90C-69F2BB5565C0}"/>
          </ac:graphicFrameMkLst>
        </pc:graphicFrameChg>
        <pc:picChg chg="add mod">
          <ac:chgData name="Peter Selch Dahl" userId="2a8ce412-a5f6-41ff-9f56-c9e5c014459a" providerId="ADAL" clId="{70BA7881-8769-4549-A7E8-1E0DE30791E1}" dt="2020-01-20T20:21:08.147" v="896" actId="1076"/>
          <ac:picMkLst>
            <pc:docMk/>
            <pc:sldMk cId="3297466731" sldId="2076136495"/>
            <ac:picMk id="13" creationId="{DD6C155D-72EA-4E1B-8E08-653F73D9BAB7}"/>
          </ac:picMkLst>
        </pc:picChg>
        <pc:picChg chg="add del mod">
          <ac:chgData name="Peter Selch Dahl" userId="2a8ce412-a5f6-41ff-9f56-c9e5c014459a" providerId="ADAL" clId="{70BA7881-8769-4549-A7E8-1E0DE30791E1}" dt="2020-01-20T20:18:43.418" v="870"/>
          <ac:picMkLst>
            <pc:docMk/>
            <pc:sldMk cId="3297466731" sldId="2076136495"/>
            <ac:picMk id="1026" creationId="{313BE5BF-EA1C-4F8B-9ADB-963DB3FCAFC1}"/>
          </ac:picMkLst>
        </pc:picChg>
        <pc:picChg chg="add mod">
          <ac:chgData name="Peter Selch Dahl" userId="2a8ce412-a5f6-41ff-9f56-c9e5c014459a" providerId="ADAL" clId="{70BA7881-8769-4549-A7E8-1E0DE30791E1}" dt="2020-01-20T20:21:51.155" v="996" actId="1076"/>
          <ac:picMkLst>
            <pc:docMk/>
            <pc:sldMk cId="3297466731" sldId="2076136495"/>
            <ac:picMk id="1028" creationId="{F06DB62A-03A6-4C76-AEDD-88938E983622}"/>
          </ac:picMkLst>
        </pc:picChg>
        <pc:picChg chg="add del mod">
          <ac:chgData name="Peter Selch Dahl" userId="2a8ce412-a5f6-41ff-9f56-c9e5c014459a" providerId="ADAL" clId="{70BA7881-8769-4549-A7E8-1E0DE30791E1}" dt="2020-01-20T20:19:43.536" v="882"/>
          <ac:picMkLst>
            <pc:docMk/>
            <pc:sldMk cId="3297466731" sldId="2076136495"/>
            <ac:picMk id="1030" creationId="{E75D58A1-4E55-4F6C-A4B0-F87E81EE968C}"/>
          </ac:picMkLst>
        </pc:picChg>
        <pc:picChg chg="add mod">
          <ac:chgData name="Peter Selch Dahl" userId="2a8ce412-a5f6-41ff-9f56-c9e5c014459a" providerId="ADAL" clId="{70BA7881-8769-4549-A7E8-1E0DE30791E1}" dt="2020-01-20T20:20:09.406" v="889" actId="1076"/>
          <ac:picMkLst>
            <pc:docMk/>
            <pc:sldMk cId="3297466731" sldId="2076136495"/>
            <ac:picMk id="1032" creationId="{D240ECFB-0CA3-4467-8F2A-3E26860DB28B}"/>
          </ac:picMkLst>
        </pc:picChg>
        <pc:picChg chg="add mod">
          <ac:chgData name="Peter Selch Dahl" userId="2a8ce412-a5f6-41ff-9f56-c9e5c014459a" providerId="ADAL" clId="{70BA7881-8769-4549-A7E8-1E0DE30791E1}" dt="2020-01-20T20:21:38.199" v="995" actId="1038"/>
          <ac:picMkLst>
            <pc:docMk/>
            <pc:sldMk cId="3297466731" sldId="2076136495"/>
            <ac:picMk id="1034" creationId="{FF102C92-785B-4D9E-A4BB-D0BA8B8FF860}"/>
          </ac:picMkLst>
        </pc:picChg>
      </pc:sldChg>
      <pc:sldChg chg="modSp add">
        <pc:chgData name="Peter Selch Dahl" userId="2a8ce412-a5f6-41ff-9f56-c9e5c014459a" providerId="ADAL" clId="{70BA7881-8769-4549-A7E8-1E0DE30791E1}" dt="2020-01-21T00:43:38.887" v="1823" actId="20577"/>
        <pc:sldMkLst>
          <pc:docMk/>
          <pc:sldMk cId="1803274998" sldId="2076136497"/>
        </pc:sldMkLst>
        <pc:spChg chg="mod">
          <ac:chgData name="Peter Selch Dahl" userId="2a8ce412-a5f6-41ff-9f56-c9e5c014459a" providerId="ADAL" clId="{70BA7881-8769-4549-A7E8-1E0DE30791E1}" dt="2020-01-21T00:43:38.887" v="1823" actId="20577"/>
          <ac:spMkLst>
            <pc:docMk/>
            <pc:sldMk cId="1803274998" sldId="2076136497"/>
            <ac:spMk id="4" creationId="{7A2ED005-8D09-4212-B744-648E31828423}"/>
          </ac:spMkLst>
        </pc:spChg>
      </pc:sldChg>
      <pc:sldChg chg="modSp add ord modAnim">
        <pc:chgData name="Peter Selch Dahl" userId="2a8ce412-a5f6-41ff-9f56-c9e5c014459a" providerId="ADAL" clId="{70BA7881-8769-4549-A7E8-1E0DE30791E1}" dt="2020-01-21T00:59:24.762" v="1864" actId="20577"/>
        <pc:sldMkLst>
          <pc:docMk/>
          <pc:sldMk cId="260677159" sldId="2076136499"/>
        </pc:sldMkLst>
        <pc:spChg chg="mod">
          <ac:chgData name="Peter Selch Dahl" userId="2a8ce412-a5f6-41ff-9f56-c9e5c014459a" providerId="ADAL" clId="{70BA7881-8769-4549-A7E8-1E0DE30791E1}" dt="2020-01-21T00:56:31.200" v="1838" actId="20577"/>
          <ac:spMkLst>
            <pc:docMk/>
            <pc:sldMk cId="260677159" sldId="2076136499"/>
            <ac:spMk id="2" creationId="{3EA3AD60-2BAF-4EF1-99D2-B8ADAEBF30D1}"/>
          </ac:spMkLst>
        </pc:spChg>
        <pc:spChg chg="mod">
          <ac:chgData name="Peter Selch Dahl" userId="2a8ce412-a5f6-41ff-9f56-c9e5c014459a" providerId="ADAL" clId="{70BA7881-8769-4549-A7E8-1E0DE30791E1}" dt="2020-01-21T00:59:24.762" v="1864" actId="20577"/>
          <ac:spMkLst>
            <pc:docMk/>
            <pc:sldMk cId="260677159" sldId="2076136499"/>
            <ac:spMk id="3" creationId="{697947C8-A7F0-4939-8C85-5B3C4150CEC4}"/>
          </ac:spMkLst>
        </pc:spChg>
      </pc:sldChg>
      <pc:sldChg chg="modSp add ord">
        <pc:chgData name="Peter Selch Dahl" userId="2a8ce412-a5f6-41ff-9f56-c9e5c014459a" providerId="ADAL" clId="{70BA7881-8769-4549-A7E8-1E0DE30791E1}" dt="2020-01-21T01:12:28.535" v="1893" actId="20577"/>
        <pc:sldMkLst>
          <pc:docMk/>
          <pc:sldMk cId="4218722223" sldId="2076136500"/>
        </pc:sldMkLst>
        <pc:spChg chg="mod">
          <ac:chgData name="Peter Selch Dahl" userId="2a8ce412-a5f6-41ff-9f56-c9e5c014459a" providerId="ADAL" clId="{70BA7881-8769-4549-A7E8-1E0DE30791E1}" dt="2020-01-21T01:12:28.535" v="1893" actId="20577"/>
          <ac:spMkLst>
            <pc:docMk/>
            <pc:sldMk cId="4218722223" sldId="2076136500"/>
            <ac:spMk id="4" creationId="{7A2ED005-8D09-4212-B744-648E31828423}"/>
          </ac:spMkLst>
        </pc:spChg>
      </pc:sldChg>
      <pc:sldChg chg="modSp add ord modAnim">
        <pc:chgData name="Peter Selch Dahl" userId="2a8ce412-a5f6-41ff-9f56-c9e5c014459a" providerId="ADAL" clId="{70BA7881-8769-4549-A7E8-1E0DE30791E1}" dt="2020-01-21T01:39:08.613" v="2098" actId="20577"/>
        <pc:sldMkLst>
          <pc:docMk/>
          <pc:sldMk cId="1469031802" sldId="2076136501"/>
        </pc:sldMkLst>
        <pc:spChg chg="mod">
          <ac:chgData name="Peter Selch Dahl" userId="2a8ce412-a5f6-41ff-9f56-c9e5c014459a" providerId="ADAL" clId="{70BA7881-8769-4549-A7E8-1E0DE30791E1}" dt="2020-01-21T01:38:38.355" v="2093"/>
          <ac:spMkLst>
            <pc:docMk/>
            <pc:sldMk cId="1469031802" sldId="2076136501"/>
            <ac:spMk id="2" creationId="{963CBC80-E31B-4F57-820A-89FEAE039D41}"/>
          </ac:spMkLst>
        </pc:spChg>
        <pc:spChg chg="mod">
          <ac:chgData name="Peter Selch Dahl" userId="2a8ce412-a5f6-41ff-9f56-c9e5c014459a" providerId="ADAL" clId="{70BA7881-8769-4549-A7E8-1E0DE30791E1}" dt="2020-01-21T01:39:08.613" v="2098" actId="20577"/>
          <ac:spMkLst>
            <pc:docMk/>
            <pc:sldMk cId="1469031802" sldId="2076136501"/>
            <ac:spMk id="3" creationId="{E658E87F-81CA-43FD-9BFE-63873BB9C550}"/>
          </ac:spMkLst>
        </pc:spChg>
        <pc:spChg chg="mod">
          <ac:chgData name="Peter Selch Dahl" userId="2a8ce412-a5f6-41ff-9f56-c9e5c014459a" providerId="ADAL" clId="{70BA7881-8769-4549-A7E8-1E0DE30791E1}" dt="2020-01-21T01:18:16.187" v="1919"/>
          <ac:spMkLst>
            <pc:docMk/>
            <pc:sldMk cId="1469031802" sldId="2076136501"/>
            <ac:spMk id="5" creationId="{D622732F-792D-42BF-A5DF-65C3A30F2CC1}"/>
          </ac:spMkLst>
        </pc:spChg>
      </pc:sldChg>
      <pc:sldChg chg="addSp delSp modSp add delAnim modAnim">
        <pc:chgData name="Peter Selch Dahl" userId="2a8ce412-a5f6-41ff-9f56-c9e5c014459a" providerId="ADAL" clId="{70BA7881-8769-4549-A7E8-1E0DE30791E1}" dt="2020-01-21T01:21:15.497" v="1947"/>
        <pc:sldMkLst>
          <pc:docMk/>
          <pc:sldMk cId="1997703635" sldId="2076136502"/>
        </pc:sldMkLst>
        <pc:spChg chg="mod">
          <ac:chgData name="Peter Selch Dahl" userId="2a8ce412-a5f6-41ff-9f56-c9e5c014459a" providerId="ADAL" clId="{70BA7881-8769-4549-A7E8-1E0DE30791E1}" dt="2020-01-21T01:20:03.625" v="1945" actId="20577"/>
          <ac:spMkLst>
            <pc:docMk/>
            <pc:sldMk cId="1997703635" sldId="2076136502"/>
            <ac:spMk id="2" creationId="{963CBC80-E31B-4F57-820A-89FEAE039D41}"/>
          </ac:spMkLst>
        </pc:spChg>
        <pc:spChg chg="del">
          <ac:chgData name="Peter Selch Dahl" userId="2a8ce412-a5f6-41ff-9f56-c9e5c014459a" providerId="ADAL" clId="{70BA7881-8769-4549-A7E8-1E0DE30791E1}" dt="2020-01-21T01:18:36.342" v="1922" actId="478"/>
          <ac:spMkLst>
            <pc:docMk/>
            <pc:sldMk cId="1997703635" sldId="2076136502"/>
            <ac:spMk id="3" creationId="{E658E87F-81CA-43FD-9BFE-63873BB9C550}"/>
          </ac:spMkLst>
        </pc:spChg>
        <pc:spChg chg="add del mod">
          <ac:chgData name="Peter Selch Dahl" userId="2a8ce412-a5f6-41ff-9f56-c9e5c014459a" providerId="ADAL" clId="{70BA7881-8769-4549-A7E8-1E0DE30791E1}" dt="2020-01-21T01:18:38.477" v="1923" actId="478"/>
          <ac:spMkLst>
            <pc:docMk/>
            <pc:sldMk cId="1997703635" sldId="2076136502"/>
            <ac:spMk id="8" creationId="{DBEE24C5-580B-485A-A993-7E54C898443B}"/>
          </ac:spMkLst>
        </pc:spChg>
        <pc:spChg chg="add mod">
          <ac:chgData name="Peter Selch Dahl" userId="2a8ce412-a5f6-41ff-9f56-c9e5c014459a" providerId="ADAL" clId="{70BA7881-8769-4549-A7E8-1E0DE30791E1}" dt="2020-01-21T01:21:15.497" v="1947"/>
          <ac:spMkLst>
            <pc:docMk/>
            <pc:sldMk cId="1997703635" sldId="2076136502"/>
            <ac:spMk id="10" creationId="{CDEABE43-5B69-4A04-9D58-80D2974EB020}"/>
          </ac:spMkLst>
        </pc:spChg>
        <pc:picChg chg="add mod">
          <ac:chgData name="Peter Selch Dahl" userId="2a8ce412-a5f6-41ff-9f56-c9e5c014459a" providerId="ADAL" clId="{70BA7881-8769-4549-A7E8-1E0DE30791E1}" dt="2020-01-21T01:19:19.487" v="1927" actId="1076"/>
          <ac:picMkLst>
            <pc:docMk/>
            <pc:sldMk cId="1997703635" sldId="2076136502"/>
            <ac:picMk id="9" creationId="{15370837-B8C8-41F2-87FA-DE42DF2AFBC1}"/>
          </ac:picMkLst>
        </pc:picChg>
      </pc:sldChg>
      <pc:sldChg chg="addSp delSp modSp add delAnim modAnim">
        <pc:chgData name="Peter Selch Dahl" userId="2a8ce412-a5f6-41ff-9f56-c9e5c014459a" providerId="ADAL" clId="{70BA7881-8769-4549-A7E8-1E0DE30791E1}" dt="2020-01-21T01:33:34.213" v="2045" actId="478"/>
        <pc:sldMkLst>
          <pc:docMk/>
          <pc:sldMk cId="2456398770" sldId="2076136503"/>
        </pc:sldMkLst>
        <pc:spChg chg="mod">
          <ac:chgData name="Peter Selch Dahl" userId="2a8ce412-a5f6-41ff-9f56-c9e5c014459a" providerId="ADAL" clId="{70BA7881-8769-4549-A7E8-1E0DE30791E1}" dt="2020-01-21T01:32:39.278" v="1973" actId="20577"/>
          <ac:spMkLst>
            <pc:docMk/>
            <pc:sldMk cId="2456398770" sldId="2076136503"/>
            <ac:spMk id="2" creationId="{963CBC80-E31B-4F57-820A-89FEAE039D41}"/>
          </ac:spMkLst>
        </pc:spChg>
        <pc:spChg chg="mod">
          <ac:chgData name="Peter Selch Dahl" userId="2a8ce412-a5f6-41ff-9f56-c9e5c014459a" providerId="ADAL" clId="{70BA7881-8769-4549-A7E8-1E0DE30791E1}" dt="2020-01-21T01:33:25.422" v="2043" actId="20577"/>
          <ac:spMkLst>
            <pc:docMk/>
            <pc:sldMk cId="2456398770" sldId="2076136503"/>
            <ac:spMk id="5" creationId="{D622732F-792D-42BF-A5DF-65C3A30F2CC1}"/>
          </ac:spMkLst>
        </pc:spChg>
        <pc:spChg chg="del mod">
          <ac:chgData name="Peter Selch Dahl" userId="2a8ce412-a5f6-41ff-9f56-c9e5c014459a" providerId="ADAL" clId="{70BA7881-8769-4549-A7E8-1E0DE30791E1}" dt="2020-01-21T01:33:34.213" v="2045" actId="478"/>
          <ac:spMkLst>
            <pc:docMk/>
            <pc:sldMk cId="2456398770" sldId="2076136503"/>
            <ac:spMk id="10" creationId="{CDEABE43-5B69-4A04-9D58-80D2974EB020}"/>
          </ac:spMkLst>
        </pc:spChg>
        <pc:picChg chg="del">
          <ac:chgData name="Peter Selch Dahl" userId="2a8ce412-a5f6-41ff-9f56-c9e5c014459a" providerId="ADAL" clId="{70BA7881-8769-4549-A7E8-1E0DE30791E1}" dt="2020-01-21T01:32:18.745" v="1949" actId="478"/>
          <ac:picMkLst>
            <pc:docMk/>
            <pc:sldMk cId="2456398770" sldId="2076136503"/>
            <ac:picMk id="9" creationId="{15370837-B8C8-41F2-87FA-DE42DF2AFBC1}"/>
          </ac:picMkLst>
        </pc:picChg>
        <pc:picChg chg="add mod">
          <ac:chgData name="Peter Selch Dahl" userId="2a8ce412-a5f6-41ff-9f56-c9e5c014459a" providerId="ADAL" clId="{70BA7881-8769-4549-A7E8-1E0DE30791E1}" dt="2020-01-21T01:32:25.734" v="1952" actId="1076"/>
          <ac:picMkLst>
            <pc:docMk/>
            <pc:sldMk cId="2456398770" sldId="2076136503"/>
            <ac:picMk id="2050" creationId="{0E86C98F-4A63-4A5F-86A4-672A80BB72FF}"/>
          </ac:picMkLst>
        </pc:picChg>
      </pc:sldChg>
      <pc:sldChg chg="add">
        <pc:chgData name="Peter Selch Dahl" userId="2a8ce412-a5f6-41ff-9f56-c9e5c014459a" providerId="ADAL" clId="{70BA7881-8769-4549-A7E8-1E0DE30791E1}" dt="2020-01-21T01:33:37.446" v="2046"/>
        <pc:sldMkLst>
          <pc:docMk/>
          <pc:sldMk cId="688207886" sldId="2076136504"/>
        </pc:sldMkLst>
      </pc:sldChg>
      <pc:sldChg chg="modSp add modAnim">
        <pc:chgData name="Peter Selch Dahl" userId="2a8ce412-a5f6-41ff-9f56-c9e5c014459a" providerId="ADAL" clId="{70BA7881-8769-4549-A7E8-1E0DE30791E1}" dt="2020-01-21T01:39:21.210" v="2099" actId="20577"/>
        <pc:sldMkLst>
          <pc:docMk/>
          <pc:sldMk cId="1820100173" sldId="2076136505"/>
        </pc:sldMkLst>
        <pc:spChg chg="mod">
          <ac:chgData name="Peter Selch Dahl" userId="2a8ce412-a5f6-41ff-9f56-c9e5c014459a" providerId="ADAL" clId="{70BA7881-8769-4549-A7E8-1E0DE30791E1}" dt="2020-01-21T01:39:21.210" v="2099" actId="20577"/>
          <ac:spMkLst>
            <pc:docMk/>
            <pc:sldMk cId="1820100173" sldId="2076136505"/>
            <ac:spMk id="2" creationId="{963CBC80-E31B-4F57-820A-89FEAE039D41}"/>
          </ac:spMkLst>
        </pc:spChg>
        <pc:spChg chg="mod">
          <ac:chgData name="Peter Selch Dahl" userId="2a8ce412-a5f6-41ff-9f56-c9e5c014459a" providerId="ADAL" clId="{70BA7881-8769-4549-A7E8-1E0DE30791E1}" dt="2020-01-21T01:37:55.232" v="2084" actId="20577"/>
          <ac:spMkLst>
            <pc:docMk/>
            <pc:sldMk cId="1820100173" sldId="2076136505"/>
            <ac:spMk id="10" creationId="{CDEABE43-5B69-4A04-9D58-80D2974EB020}"/>
          </ac:spMkLst>
        </pc:spChg>
        <pc:picChg chg="mod modCrop">
          <ac:chgData name="Peter Selch Dahl" userId="2a8ce412-a5f6-41ff-9f56-c9e5c014459a" providerId="ADAL" clId="{70BA7881-8769-4549-A7E8-1E0DE30791E1}" dt="2020-01-21T01:38:14.733" v="2086" actId="1076"/>
          <ac:picMkLst>
            <pc:docMk/>
            <pc:sldMk cId="1820100173" sldId="2076136505"/>
            <ac:picMk id="9" creationId="{15370837-B8C8-41F2-87FA-DE42DF2AFBC1}"/>
          </ac:picMkLst>
        </pc:picChg>
      </pc:sldChg>
      <pc:sldChg chg="modSp add modAnim">
        <pc:chgData name="Peter Selch Dahl" userId="2a8ce412-a5f6-41ff-9f56-c9e5c014459a" providerId="ADAL" clId="{70BA7881-8769-4549-A7E8-1E0DE30791E1}" dt="2020-01-21T01:44:30.637" v="2135" actId="20577"/>
        <pc:sldMkLst>
          <pc:docMk/>
          <pc:sldMk cId="887622885" sldId="2076136506"/>
        </pc:sldMkLst>
        <pc:spChg chg="mod">
          <ac:chgData name="Peter Selch Dahl" userId="2a8ce412-a5f6-41ff-9f56-c9e5c014459a" providerId="ADAL" clId="{70BA7881-8769-4549-A7E8-1E0DE30791E1}" dt="2020-01-21T01:44:30.637" v="2135" actId="20577"/>
          <ac:spMkLst>
            <pc:docMk/>
            <pc:sldMk cId="887622885" sldId="2076136506"/>
            <ac:spMk id="3" creationId="{E658E87F-81CA-43FD-9BFE-63873BB9C550}"/>
          </ac:spMkLst>
        </pc:spChg>
      </pc:sldChg>
      <pc:sldChg chg="modSp add modAnim">
        <pc:chgData name="Peter Selch Dahl" userId="2a8ce412-a5f6-41ff-9f56-c9e5c014459a" providerId="ADAL" clId="{70BA7881-8769-4549-A7E8-1E0DE30791E1}" dt="2020-01-21T01:46:17.478" v="2139"/>
        <pc:sldMkLst>
          <pc:docMk/>
          <pc:sldMk cId="465672031" sldId="2076136507"/>
        </pc:sldMkLst>
        <pc:spChg chg="mod">
          <ac:chgData name="Peter Selch Dahl" userId="2a8ce412-a5f6-41ff-9f56-c9e5c014459a" providerId="ADAL" clId="{70BA7881-8769-4549-A7E8-1E0DE30791E1}" dt="2020-01-21T01:46:17.478" v="2139"/>
          <ac:spMkLst>
            <pc:docMk/>
            <pc:sldMk cId="465672031" sldId="2076136507"/>
            <ac:spMk id="3" creationId="{E658E87F-81CA-43FD-9BFE-63873BB9C550}"/>
          </ac:spMkLst>
        </pc:spChg>
      </pc:sldChg>
      <pc:sldChg chg="ord">
        <pc:chgData name="Peter Selch Dahl" userId="2a8ce412-a5f6-41ff-9f56-c9e5c014459a" providerId="ADAL" clId="{70BA7881-8769-4549-A7E8-1E0DE30791E1}" dt="2020-01-21T01:52:44.682" v="2145"/>
        <pc:sldMkLst>
          <pc:docMk/>
          <pc:sldMk cId="2031271701" sldId="2076136508"/>
        </pc:sldMkLst>
      </pc:sldChg>
      <pc:sldChg chg="add del">
        <pc:chgData name="Peter Selch Dahl" userId="2a8ce412-a5f6-41ff-9f56-c9e5c014459a" providerId="ADAL" clId="{70BA7881-8769-4549-A7E8-1E0DE30791E1}" dt="2020-01-21T02:02:53.311" v="2152"/>
        <pc:sldMkLst>
          <pc:docMk/>
          <pc:sldMk cId="2046961321" sldId="2076136509"/>
        </pc:sldMkLst>
      </pc:sldChg>
      <pc:sldChg chg="add del">
        <pc:chgData name="Peter Selch Dahl" userId="2a8ce412-a5f6-41ff-9f56-c9e5c014459a" providerId="ADAL" clId="{70BA7881-8769-4549-A7E8-1E0DE30791E1}" dt="2020-01-21T02:01:05.983" v="2148"/>
        <pc:sldMkLst>
          <pc:docMk/>
          <pc:sldMk cId="2963618192" sldId="2076136509"/>
        </pc:sldMkLst>
      </pc:sldChg>
      <pc:sldMasterChg chg="delSldLayout modSldLayout">
        <pc:chgData name="Peter Selch Dahl" userId="2a8ce412-a5f6-41ff-9f56-c9e5c014459a" providerId="ADAL" clId="{70BA7881-8769-4549-A7E8-1E0DE30791E1}" dt="2020-01-20T22:10:29.032" v="1698" actId="2696"/>
        <pc:sldMasterMkLst>
          <pc:docMk/>
          <pc:sldMasterMk cId="3755491073" sldId="2147484602"/>
        </pc:sldMasterMkLst>
        <pc:sldLayoutChg chg="delSp del">
          <pc:chgData name="Peter Selch Dahl" userId="2a8ce412-a5f6-41ff-9f56-c9e5c014459a" providerId="ADAL" clId="{70BA7881-8769-4549-A7E8-1E0DE30791E1}" dt="2020-01-20T22:10:29.032" v="1698" actId="2696"/>
          <pc:sldLayoutMkLst>
            <pc:docMk/>
            <pc:sldMasterMk cId="3755491073" sldId="2147484602"/>
            <pc:sldLayoutMk cId="3700741508" sldId="2147484829"/>
          </pc:sldLayoutMkLst>
          <pc:spChg chg="del">
            <ac:chgData name="Peter Selch Dahl" userId="2a8ce412-a5f6-41ff-9f56-c9e5c014459a" providerId="ADAL" clId="{70BA7881-8769-4549-A7E8-1E0DE30791E1}" dt="2020-01-20T22:10:04.952" v="1696" actId="478"/>
            <ac:spMkLst>
              <pc:docMk/>
              <pc:sldMasterMk cId="3755491073" sldId="2147484602"/>
              <pc:sldLayoutMk cId="3700741508" sldId="2147484829"/>
              <ac:spMk id="3" creationId="{3863D25F-BA8B-4AB3-99D7-DC27B7C07FE7}"/>
            </ac:spMkLst>
          </pc:spChg>
        </pc:sldLayoutChg>
      </pc:sldMasterChg>
      <pc:sldMasterChg chg="delSldLayout">
        <pc:chgData name="Peter Selch Dahl" userId="2a8ce412-a5f6-41ff-9f56-c9e5c014459a" providerId="ADAL" clId="{70BA7881-8769-4549-A7E8-1E0DE30791E1}" dt="2020-01-21T00:28:37.415" v="1801" actId="2696"/>
        <pc:sldMasterMkLst>
          <pc:docMk/>
          <pc:sldMasterMk cId="290422782" sldId="2147484703"/>
        </pc:sldMasterMkLst>
        <pc:sldLayoutChg chg="del">
          <pc:chgData name="Peter Selch Dahl" userId="2a8ce412-a5f6-41ff-9f56-c9e5c014459a" providerId="ADAL" clId="{70BA7881-8769-4549-A7E8-1E0DE30791E1}" dt="2020-01-21T00:28:37.415" v="1801" actId="2696"/>
          <pc:sldLayoutMkLst>
            <pc:docMk/>
            <pc:sldMasterMk cId="290422782" sldId="2147484703"/>
            <pc:sldLayoutMk cId="383875130" sldId="2147484710"/>
          </pc:sldLayoutMkLst>
        </pc:sldLayoutChg>
      </pc:sldMasterChg>
      <pc:sldMasterChg chg="modSldLayout">
        <pc:chgData name="Peter Selch Dahl" userId="2a8ce412-a5f6-41ff-9f56-c9e5c014459a" providerId="ADAL" clId="{70BA7881-8769-4549-A7E8-1E0DE30791E1}" dt="2020-01-20T22:10:47.754" v="1700" actId="478"/>
        <pc:sldMasterMkLst>
          <pc:docMk/>
          <pc:sldMasterMk cId="2302970430" sldId="2147484830"/>
        </pc:sldMasterMkLst>
        <pc:sldLayoutChg chg="delSp modSp">
          <pc:chgData name="Peter Selch Dahl" userId="2a8ce412-a5f6-41ff-9f56-c9e5c014459a" providerId="ADAL" clId="{70BA7881-8769-4549-A7E8-1E0DE30791E1}" dt="2020-01-20T22:10:47.754" v="1700" actId="478"/>
          <pc:sldLayoutMkLst>
            <pc:docMk/>
            <pc:sldMasterMk cId="2302970430" sldId="2147484830"/>
            <pc:sldLayoutMk cId="1203648760" sldId="2147484837"/>
          </pc:sldLayoutMkLst>
          <pc:spChg chg="del mod">
            <ac:chgData name="Peter Selch Dahl" userId="2a8ce412-a5f6-41ff-9f56-c9e5c014459a" providerId="ADAL" clId="{70BA7881-8769-4549-A7E8-1E0DE30791E1}" dt="2020-01-20T22:10:47.754" v="1700" actId="478"/>
            <ac:spMkLst>
              <pc:docMk/>
              <pc:sldMasterMk cId="2302970430" sldId="2147484830"/>
              <pc:sldLayoutMk cId="1203648760" sldId="2147484837"/>
              <ac:spMk id="3" creationId="{3863D25F-BA8B-4AB3-99D7-DC27B7C07FE7}"/>
            </ac:spMkLst>
          </pc:spChg>
        </pc:sldLayoutChg>
      </pc:sldMasterChg>
    </pc:docChg>
  </pc:docChgLst>
  <pc:docChgLst>
    <pc:chgData name="Paul Wilcox" userId="be6daff017ddb434" providerId="LiveId" clId="{DD32812E-98DC-4E41-B706-CEE56D4132E6}"/>
    <pc:docChg chg="undo addSld delSld modSld modSection">
      <pc:chgData name="Paul Wilcox" userId="be6daff017ddb434" providerId="LiveId" clId="{DD32812E-98DC-4E41-B706-CEE56D4132E6}" dt="2019-07-05T22:35:00.511" v="16" actId="962"/>
      <pc:docMkLst>
        <pc:docMk/>
      </pc:docMkLst>
      <pc:sldChg chg="del">
        <pc:chgData name="Paul Wilcox" userId="be6daff017ddb434" providerId="LiveId" clId="{DD32812E-98DC-4E41-B706-CEE56D4132E6}" dt="2019-07-05T22:17:47.258" v="1" actId="2696"/>
        <pc:sldMkLst>
          <pc:docMk/>
          <pc:sldMk cId="3515117773" sldId="4208"/>
        </pc:sldMkLst>
      </pc:sldChg>
      <pc:sldChg chg="del">
        <pc:chgData name="Paul Wilcox" userId="be6daff017ddb434" providerId="LiveId" clId="{DD32812E-98DC-4E41-B706-CEE56D4132E6}" dt="2019-07-05T22:17:47.278" v="2" actId="2696"/>
        <pc:sldMkLst>
          <pc:docMk/>
          <pc:sldMk cId="1220811841" sldId="2076135967"/>
        </pc:sldMkLst>
      </pc:sldChg>
      <pc:sldChg chg="modSp add">
        <pc:chgData name="Paul Wilcox" userId="be6daff017ddb434" providerId="LiveId" clId="{DD32812E-98DC-4E41-B706-CEE56D4132E6}" dt="2019-07-05T22:34:57.528" v="15" actId="962"/>
        <pc:sldMkLst>
          <pc:docMk/>
          <pc:sldMk cId="1912622331" sldId="2076135968"/>
        </pc:sldMkLst>
        <pc:spChg chg="mod">
          <ac:chgData name="Paul Wilcox" userId="be6daff017ddb434" providerId="LiveId" clId="{DD32812E-98DC-4E41-B706-CEE56D4132E6}" dt="2019-07-05T22:34:57.528" v="15" actId="962"/>
          <ac:spMkLst>
            <pc:docMk/>
            <pc:sldMk cId="1912622331" sldId="2076135968"/>
            <ac:spMk id="3" creationId="{40EFED33-C114-4451-9205-0DD6234DA732}"/>
          </ac:spMkLst>
        </pc:spChg>
        <pc:spChg chg="mod">
          <ac:chgData name="Paul Wilcox" userId="be6daff017ddb434" providerId="LiveId" clId="{DD32812E-98DC-4E41-B706-CEE56D4132E6}" dt="2019-07-05T22:34:55.927" v="14" actId="962"/>
          <ac:spMkLst>
            <pc:docMk/>
            <pc:sldMk cId="1912622331" sldId="2076135968"/>
            <ac:spMk id="8" creationId="{00596C27-5687-4CC1-9015-1BBF36628FDD}"/>
          </ac:spMkLst>
        </pc:spChg>
        <pc:graphicFrameChg chg="modGraphic">
          <ac:chgData name="Paul Wilcox" userId="be6daff017ddb434" providerId="LiveId" clId="{DD32812E-98DC-4E41-B706-CEE56D4132E6}" dt="2019-07-05T22:34:43.812" v="13" actId="20577"/>
          <ac:graphicFrameMkLst>
            <pc:docMk/>
            <pc:sldMk cId="1912622331" sldId="2076135968"/>
            <ac:graphicFrameMk id="6" creationId="{CD3DA1A2-6373-4AA8-A488-6DD33A2CCB58}"/>
          </ac:graphicFrameMkLst>
        </pc:graphicFrameChg>
      </pc:sldChg>
      <pc:sldChg chg="modSp add">
        <pc:chgData name="Paul Wilcox" userId="be6daff017ddb434" providerId="LiveId" clId="{DD32812E-98DC-4E41-B706-CEE56D4132E6}" dt="2019-07-05T22:35:00.511" v="16" actId="962"/>
        <pc:sldMkLst>
          <pc:docMk/>
          <pc:sldMk cId="776579920" sldId="2076135969"/>
        </pc:sldMkLst>
        <pc:spChg chg="mod">
          <ac:chgData name="Paul Wilcox" userId="be6daff017ddb434" providerId="LiveId" clId="{DD32812E-98DC-4E41-B706-CEE56D4132E6}" dt="2019-07-05T22:35:00.511" v="16" actId="962"/>
          <ac:spMkLst>
            <pc:docMk/>
            <pc:sldMk cId="776579920" sldId="2076135969"/>
            <ac:spMk id="5" creationId="{065D342F-E711-49D2-BFBF-F2F8887C99F1}"/>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5" dt="2019-10-31T13:11:22.649" idx="1">
    <p:pos x="10" y="106"/>
    <p:text>Hi Pearl! Do you mean replace "#1 for compliance with more than 70 compliance certifications" with "90+ compliance offerings?" 
Or update the text to say "#1 for compliance with 90+ compliance offerings"?
</p:text>
    <p:extLst>
      <p:ext uri="{C676402C-5697-4E1C-873F-D02D1690AC5C}">
        <p15:threadingInfo xmlns:p15="http://schemas.microsoft.com/office/powerpoint/2012/main" timeZoneBias="420"/>
      </p:ext>
    </p:extLst>
  </p:cm>
  <p:cm authorId="6" dt="2019-10-31T13:37:58.183" idx="3">
    <p:pos x="10" y="202"/>
    <p:text>the latter - thanks for clarifying! #1 for compliance with 90+ compliance offerings</p:text>
    <p:extLst>
      <p:ext uri="{C676402C-5697-4E1C-873F-D02D1690AC5C}">
        <p15:threadingInfo xmlns:p15="http://schemas.microsoft.com/office/powerpoint/2012/main" timeZoneBias="420"/>
      </p:ext>
    </p:extLst>
  </p:cm>
  <p:cm authorId="5" dt="2019-10-31T14:01:02.966" idx="2">
    <p:pos x="10" y="298"/>
    <p:text>Got it, thank you!
</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82EABDED-6B36-4566-849D-F30AD9434719}">
      <dgm:prSet phldrT="[Text]" custT="1"/>
      <dgm:spPr/>
      <dgm:t>
        <a:bodyPr/>
        <a:lstStyle/>
        <a:p>
          <a:r>
            <a:rPr lang="en-US" sz="1200" dirty="0" err="1"/>
            <a:t>TenantGroup</a:t>
          </a:r>
          <a:endParaRPr lang="en-US" sz="1200" dirty="0"/>
        </a:p>
      </dgm:t>
    </dgm:pt>
    <dgm:pt modelId="{D3E36989-F6FF-45E5-91D7-D5C730347C89}" type="parTrans" cxnId="{CF8B65E1-3EA4-46AD-A923-AAAC4FB885C4}">
      <dgm:prSet/>
      <dgm:spPr/>
      <dgm:t>
        <a:bodyPr/>
        <a:lstStyle/>
        <a:p>
          <a:endParaRPr lang="en-US" sz="1200"/>
        </a:p>
      </dgm:t>
    </dgm:pt>
    <dgm:pt modelId="{FA8FB7F2-60D0-4852-86A9-1EC0E4A5210D}" type="sibTrans" cxnId="{CF8B65E1-3EA4-46AD-A923-AAAC4FB885C4}">
      <dgm:prSet/>
      <dgm:spPr/>
      <dgm:t>
        <a:bodyPr/>
        <a:lstStyle/>
        <a:p>
          <a:endParaRPr lang="en-US" sz="1200"/>
        </a:p>
      </dgm:t>
    </dgm:pt>
    <dgm:pt modelId="{16EB1371-CB5F-4B37-A5E7-BC77FB682E0B}">
      <dgm:prSet phldrT="[Text]" custT="1"/>
      <dgm:spPr/>
      <dgm:t>
        <a:bodyPr/>
        <a:lstStyle/>
        <a:p>
          <a:r>
            <a:rPr lang="en-US" sz="1200" err="1"/>
            <a:t>HostPool</a:t>
          </a:r>
          <a:endParaRPr lang="en-US" sz="1200"/>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a:t>SessionHost*</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err="1"/>
            <a:t>AppGroup</a:t>
          </a:r>
          <a:endParaRPr lang="en-US" sz="1200"/>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FA7464F-99E4-4E3C-826D-C8B1D9B610C4}">
      <dgm:prSet phldrT="[Text]" custT="1"/>
      <dgm:spPr/>
      <dgm:t>
        <a:bodyPr/>
        <a:lstStyle/>
        <a:p>
          <a:r>
            <a:rPr lang="en-US" sz="1200" dirty="0"/>
            <a:t>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dirty="0"/>
            <a:t>Remote</a:t>
          </a:r>
          <a:br>
            <a:rPr lang="en-US" sz="1200"/>
          </a:br>
          <a:r>
            <a:rPr lang="en-US" sz="1200"/>
            <a:t>Desktop*</a:t>
          </a:r>
          <a:endParaRPr lang="en-US" sz="1200" dirty="0"/>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4B35137D-2093-4831-955B-DABDBB31C9E5}">
      <dgm:prSet phldrT="[Text]" custT="1"/>
      <dgm:spPr/>
      <dgm:t>
        <a:bodyPr/>
        <a:lstStyle/>
        <a:p>
          <a:r>
            <a:rPr lang="en-US" sz="1200" err="1"/>
            <a:t>UserSession</a:t>
          </a:r>
          <a:r>
            <a:rPr lang="en-US" sz="1200"/>
            <a:t>*</a:t>
          </a:r>
        </a:p>
      </dgm:t>
    </dgm:pt>
    <dgm:pt modelId="{5CDC7FC3-B606-4F45-97E1-7DF8F2B0B120}" type="parTrans" cxnId="{CF91A799-71FE-48A0-A007-FE78F609F1AC}">
      <dgm:prSet/>
      <dgm:spPr/>
      <dgm:t>
        <a:bodyPr/>
        <a:lstStyle/>
        <a:p>
          <a:endParaRPr lang="en-US"/>
        </a:p>
      </dgm:t>
    </dgm:pt>
    <dgm:pt modelId="{5EDE3FD7-E64C-4FF4-ACF9-345ABB404EE4}" type="sibTrans" cxnId="{CF91A799-71FE-48A0-A007-FE78F609F1AC}">
      <dgm:prSet/>
      <dgm:spPr/>
      <dgm:t>
        <a:bodyPr/>
        <a:lstStyle/>
        <a:p>
          <a:endParaRPr lang="en-US"/>
        </a:p>
      </dgm:t>
    </dgm:pt>
    <dgm:pt modelId="{D45AFFE4-6D25-45F7-A867-7708D5E37ABF}">
      <dgm:prSet phldrT="[Text]" custT="1"/>
      <dgm:spPr/>
      <dgm:t>
        <a:bodyPr/>
        <a:lstStyle/>
        <a:p>
          <a:r>
            <a:rPr lang="en-US" sz="1200"/>
            <a:t>RemoteApp</a:t>
          </a:r>
        </a:p>
      </dgm:t>
    </dgm:pt>
    <dgm:pt modelId="{51DF911C-FD72-4910-B450-DACB7059D091}" type="sibTrans" cxnId="{A1E8DDE7-BA1B-4490-B7F4-AD12265AA790}">
      <dgm:prSet/>
      <dgm:spPr/>
      <dgm:t>
        <a:bodyPr/>
        <a:lstStyle/>
        <a:p>
          <a:endParaRPr lang="en-US" sz="1200"/>
        </a:p>
      </dgm:t>
    </dgm:pt>
    <dgm:pt modelId="{0A0C3F7D-2B79-4774-B735-996F735DF0BB}" type="parTrans" cxnId="{A1E8DDE7-BA1B-4490-B7F4-AD12265AA790}">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5FD8D13B-3F80-46BD-AC52-854C62DE282A}" type="pres">
      <dgm:prSet presAssocID="{82EABDED-6B36-4566-849D-F30AD9434719}" presName="hierRoot1" presStyleCnt="0"/>
      <dgm:spPr/>
    </dgm:pt>
    <dgm:pt modelId="{5C9031D0-DB42-41A3-88FE-C444DA8650A3}" type="pres">
      <dgm:prSet presAssocID="{82EABDED-6B36-4566-849D-F30AD9434719}" presName="composite" presStyleCnt="0"/>
      <dgm:spPr/>
    </dgm:pt>
    <dgm:pt modelId="{39433600-5AA5-45BD-B035-37FBC5A7FA11}" type="pres">
      <dgm:prSet presAssocID="{82EABDED-6B36-4566-849D-F30AD9434719}" presName="background" presStyleLbl="node0" presStyleIdx="0" presStyleCnt="1"/>
      <dgm:spPr/>
    </dgm:pt>
    <dgm:pt modelId="{AF10B0D4-B718-4809-AB7D-0D1674A1B519}" type="pres">
      <dgm:prSet presAssocID="{82EABDED-6B36-4566-849D-F30AD9434719}" presName="text" presStyleLbl="fgAcc0" presStyleIdx="0" presStyleCnt="1">
        <dgm:presLayoutVars>
          <dgm:chPref val="3"/>
        </dgm:presLayoutVars>
      </dgm:prSet>
      <dgm:spPr/>
    </dgm:pt>
    <dgm:pt modelId="{BACA96CD-8DC0-4B41-9411-BA402895DCE3}" type="pres">
      <dgm:prSet presAssocID="{82EABDED-6B36-4566-849D-F30AD9434719}" presName="hierChild2" presStyleCnt="0"/>
      <dgm:spPr/>
    </dgm:pt>
    <dgm:pt modelId="{E2B72E87-8736-4021-B702-CA35E50BF41A}" type="pres">
      <dgm:prSet presAssocID="{CEFA2B6C-A578-474F-94CE-C1ECE31E2B8C}" presName="Name10" presStyleLbl="parChTrans1D2" presStyleIdx="0" presStyleCnt="1"/>
      <dgm:spPr/>
    </dgm:pt>
    <dgm:pt modelId="{48D18FC6-92C6-4990-8B3C-05C7B6D9090F}" type="pres">
      <dgm:prSet presAssocID="{DFA7464F-99E4-4E3C-826D-C8B1D9B610C4}" presName="hierRoot2" presStyleCnt="0"/>
      <dgm:spPr/>
    </dgm:pt>
    <dgm:pt modelId="{BF94E8BD-0C1D-457E-AE98-114A8143A785}" type="pres">
      <dgm:prSet presAssocID="{DFA7464F-99E4-4E3C-826D-C8B1D9B610C4}" presName="composite2" presStyleCnt="0"/>
      <dgm:spPr/>
    </dgm:pt>
    <dgm:pt modelId="{B551797E-BF9B-433E-8A29-FDBD5420392C}" type="pres">
      <dgm:prSet presAssocID="{DFA7464F-99E4-4E3C-826D-C8B1D9B610C4}" presName="background2" presStyleLbl="node2" presStyleIdx="0" presStyleCnt="1"/>
      <dgm:spPr/>
    </dgm:pt>
    <dgm:pt modelId="{AE532E12-D5C4-4839-B5E2-6628C543E294}" type="pres">
      <dgm:prSet presAssocID="{DFA7464F-99E4-4E3C-826D-C8B1D9B610C4}" presName="text2" presStyleLbl="fgAcc2" presStyleIdx="0" presStyleCnt="1">
        <dgm:presLayoutVars>
          <dgm:chPref val="3"/>
        </dgm:presLayoutVars>
      </dgm:prSet>
      <dgm:spPr/>
    </dgm:pt>
    <dgm:pt modelId="{25838505-E62B-4F4B-A546-87639D3B4CFB}" type="pres">
      <dgm:prSet presAssocID="{DFA7464F-99E4-4E3C-826D-C8B1D9B610C4}" presName="hierChild3" presStyleCnt="0"/>
      <dgm:spPr/>
    </dgm:pt>
    <dgm:pt modelId="{E5FC78B1-B136-4523-8B05-E7CD5EB5A173}" type="pres">
      <dgm:prSet presAssocID="{7027A0A8-3C1A-4E36-B2FD-4AB5D7152420}" presName="Name17" presStyleLbl="parChTrans1D3" presStyleIdx="0" presStyleCnt="1"/>
      <dgm:spPr/>
    </dgm:pt>
    <dgm:pt modelId="{F3A47605-9CCD-4F23-AA7E-B3024DF3EC23}" type="pres">
      <dgm:prSet presAssocID="{16EB1371-CB5F-4B37-A5E7-BC77FB682E0B}" presName="hierRoot3" presStyleCnt="0"/>
      <dgm:spPr/>
    </dgm:pt>
    <dgm:pt modelId="{BB37B999-87ED-48ED-BBA3-70CCCBEEF357}" type="pres">
      <dgm:prSet presAssocID="{16EB1371-CB5F-4B37-A5E7-BC77FB682E0B}" presName="composite3" presStyleCnt="0"/>
      <dgm:spPr/>
    </dgm:pt>
    <dgm:pt modelId="{30562E8C-C669-4BBD-A83C-425FF1FB8E24}" type="pres">
      <dgm:prSet presAssocID="{16EB1371-CB5F-4B37-A5E7-BC77FB682E0B}" presName="background3" presStyleLbl="node3" presStyleIdx="0" presStyleCnt="1"/>
      <dgm:spPr/>
    </dgm:pt>
    <dgm:pt modelId="{FB972832-A969-4A16-B8F4-8CC5C41945FF}" type="pres">
      <dgm:prSet presAssocID="{16EB1371-CB5F-4B37-A5E7-BC77FB682E0B}" presName="text3" presStyleLbl="fgAcc3" presStyleIdx="0" presStyleCnt="1">
        <dgm:presLayoutVars>
          <dgm:chPref val="3"/>
        </dgm:presLayoutVars>
      </dgm:prSet>
      <dgm:spPr/>
    </dgm:pt>
    <dgm:pt modelId="{BDD33F69-063F-4EC0-A6C4-0AC13C770F74}" type="pres">
      <dgm:prSet presAssocID="{16EB1371-CB5F-4B37-A5E7-BC77FB682E0B}" presName="hierChild4" presStyleCnt="0"/>
      <dgm:spPr/>
    </dgm:pt>
    <dgm:pt modelId="{13FD2CDC-EC2A-44DE-BE23-8F4FC93A755C}" type="pres">
      <dgm:prSet presAssocID="{FFBFBD64-0701-4257-B0C4-B4F84A2FDD93}" presName="Name23" presStyleLbl="parChTrans1D4" presStyleIdx="0" presStyleCnt="5"/>
      <dgm:spPr/>
    </dgm:pt>
    <dgm:pt modelId="{28903026-1139-458A-A10E-7EE71804A286}" type="pres">
      <dgm:prSet presAssocID="{2D12991A-320A-4A60-A404-1E98DB85D96A}" presName="hierRoot4" presStyleCnt="0"/>
      <dgm:spPr/>
    </dgm:pt>
    <dgm:pt modelId="{9C687982-98BA-4024-8FFB-60009E74F700}" type="pres">
      <dgm:prSet presAssocID="{2D12991A-320A-4A60-A404-1E98DB85D96A}" presName="composite4" presStyleCnt="0"/>
      <dgm:spPr/>
    </dgm:pt>
    <dgm:pt modelId="{DF19532D-1CDE-40E8-B84A-E45153A9E1E1}" type="pres">
      <dgm:prSet presAssocID="{2D12991A-320A-4A60-A404-1E98DB85D96A}" presName="background4" presStyleLbl="node4" presStyleIdx="0" presStyleCnt="5"/>
      <dgm:spPr/>
    </dgm:pt>
    <dgm:pt modelId="{7B3D3075-FD98-4733-84A3-D20974023ABF}" type="pres">
      <dgm:prSet presAssocID="{2D12991A-320A-4A60-A404-1E98DB85D96A}" presName="text4" presStyleLbl="fgAcc4" presStyleIdx="0" presStyleCnt="5">
        <dgm:presLayoutVars>
          <dgm:chPref val="3"/>
        </dgm:presLayoutVars>
      </dgm:prSet>
      <dgm:spPr/>
    </dgm:pt>
    <dgm:pt modelId="{ABEE6836-8065-409B-9612-444454B93E10}" type="pres">
      <dgm:prSet presAssocID="{2D12991A-320A-4A60-A404-1E98DB85D96A}" presName="hierChild5" presStyleCnt="0"/>
      <dgm:spPr/>
    </dgm:pt>
    <dgm:pt modelId="{F687EBA4-53B5-45A3-9616-00965275575E}" type="pres">
      <dgm:prSet presAssocID="{5CDC7FC3-B606-4F45-97E1-7DF8F2B0B120}" presName="Name23" presStyleLbl="parChTrans1D4" presStyleIdx="1" presStyleCnt="5"/>
      <dgm:spPr/>
    </dgm:pt>
    <dgm:pt modelId="{A84555E1-E86D-4805-973E-7F3FCED7E733}" type="pres">
      <dgm:prSet presAssocID="{4B35137D-2093-4831-955B-DABDBB31C9E5}" presName="hierRoot4" presStyleCnt="0"/>
      <dgm:spPr/>
    </dgm:pt>
    <dgm:pt modelId="{2799BB50-9383-44BC-95F0-ED2EDBF0247C}" type="pres">
      <dgm:prSet presAssocID="{4B35137D-2093-4831-955B-DABDBB31C9E5}" presName="composite4" presStyleCnt="0"/>
      <dgm:spPr/>
    </dgm:pt>
    <dgm:pt modelId="{C28FA78F-C4F0-4202-A6B4-53013E80DF2E}" type="pres">
      <dgm:prSet presAssocID="{4B35137D-2093-4831-955B-DABDBB31C9E5}" presName="background4" presStyleLbl="node4" presStyleIdx="1" presStyleCnt="5"/>
      <dgm:spPr/>
    </dgm:pt>
    <dgm:pt modelId="{42766ECE-895C-43FE-9019-D805D5522D0F}" type="pres">
      <dgm:prSet presAssocID="{4B35137D-2093-4831-955B-DABDBB31C9E5}" presName="text4" presStyleLbl="fgAcc4" presStyleIdx="1" presStyleCnt="5">
        <dgm:presLayoutVars>
          <dgm:chPref val="3"/>
        </dgm:presLayoutVars>
      </dgm:prSet>
      <dgm:spPr/>
    </dgm:pt>
    <dgm:pt modelId="{52AF789E-9C5D-4F50-BAD9-836663D5822C}" type="pres">
      <dgm:prSet presAssocID="{4B35137D-2093-4831-955B-DABDBB31C9E5}" presName="hierChild5" presStyleCnt="0"/>
      <dgm:spPr/>
    </dgm:pt>
    <dgm:pt modelId="{BF40A65B-85C8-4F81-ADA1-2FC8C412B54F}" type="pres">
      <dgm:prSet presAssocID="{30EE6C8B-AC6B-4F0C-B2AD-D67AF65D1303}" presName="Name23" presStyleLbl="parChTrans1D4" presStyleIdx="2" presStyleCnt="5"/>
      <dgm:spPr/>
    </dgm:pt>
    <dgm:pt modelId="{FC0AD87E-497F-4066-85F7-6C9CFB15C5E7}" type="pres">
      <dgm:prSet presAssocID="{57227B85-4576-4D62-8383-4959597535A2}" presName="hierRoot4" presStyleCnt="0"/>
      <dgm:spPr/>
    </dgm:pt>
    <dgm:pt modelId="{691296AC-BF10-497B-BBCC-DD727FF85D1D}" type="pres">
      <dgm:prSet presAssocID="{57227B85-4576-4D62-8383-4959597535A2}" presName="composite4" presStyleCnt="0"/>
      <dgm:spPr/>
    </dgm:pt>
    <dgm:pt modelId="{F400DC93-A1C9-4293-9404-80D675E4811F}" type="pres">
      <dgm:prSet presAssocID="{57227B85-4576-4D62-8383-4959597535A2}" presName="background4" presStyleLbl="node4" presStyleIdx="2" presStyleCnt="5"/>
      <dgm:spPr/>
    </dgm:pt>
    <dgm:pt modelId="{151EB5DF-7D4D-4001-A4D7-5C51FCF76BB3}" type="pres">
      <dgm:prSet presAssocID="{57227B85-4576-4D62-8383-4959597535A2}" presName="text4" presStyleLbl="fgAcc4" presStyleIdx="2" presStyleCnt="5">
        <dgm:presLayoutVars>
          <dgm:chPref val="3"/>
        </dgm:presLayoutVars>
      </dgm:prSet>
      <dgm:spPr/>
    </dgm:pt>
    <dgm:pt modelId="{8C647340-87B1-458C-88E0-70313359341F}" type="pres">
      <dgm:prSet presAssocID="{57227B85-4576-4D62-8383-4959597535A2}" presName="hierChild5" presStyleCnt="0"/>
      <dgm:spPr/>
    </dgm:pt>
    <dgm:pt modelId="{8AB8703C-8903-48B3-A649-B636EA11CD0A}" type="pres">
      <dgm:prSet presAssocID="{0A0C3F7D-2B79-4774-B735-996F735DF0BB}" presName="Name23" presStyleLbl="parChTrans1D4" presStyleIdx="3" presStyleCnt="5"/>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3" presStyleCnt="5"/>
      <dgm:spPr/>
    </dgm:pt>
    <dgm:pt modelId="{2A401F35-5BA8-40C9-8A27-1D7517552F71}" type="pres">
      <dgm:prSet presAssocID="{D45AFFE4-6D25-45F7-A867-7708D5E37ABF}" presName="text4" presStyleLbl="fgAcc4" presStyleIdx="3" presStyleCnt="5">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4" presStyleCnt="5"/>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4" presStyleCnt="5"/>
      <dgm:spPr/>
    </dgm:pt>
    <dgm:pt modelId="{30F9B0FE-22DA-4306-898B-BC984BF06083}" type="pres">
      <dgm:prSet presAssocID="{3B4FE289-DC1F-4580-A05D-E5A3C3B5A975}" presName="text4" presStyleLbl="fgAcc4" presStyleIdx="4" presStyleCnt="5">
        <dgm:presLayoutVars>
          <dgm:chPref val="3"/>
        </dgm:presLayoutVars>
      </dgm:prSet>
      <dgm:spPr/>
    </dgm:pt>
    <dgm:pt modelId="{35457F76-9307-4C19-92C3-2EAF2AC2795E}" type="pres">
      <dgm:prSet presAssocID="{3B4FE289-DC1F-4580-A05D-E5A3C3B5A975}" presName="hierChild5" presStyleCnt="0"/>
      <dgm:spPr/>
    </dgm:pt>
  </dgm:ptLst>
  <dgm:cxnLst>
    <dgm:cxn modelId="{767C3001-4013-4CA7-A1B7-0A9BBDB7A9EE}" type="presOf" srcId="{DFE2E0CF-25DF-452E-940C-C826E1E5A7E4}" destId="{025D225B-8EF8-4F24-9824-8937F4994C4E}" srcOrd="0" destOrd="0" presId="urn:microsoft.com/office/officeart/2005/8/layout/hierarchy1"/>
    <dgm:cxn modelId="{F0807F03-87A1-4C78-8CEE-FADD3CEAF9F9}" type="presOf" srcId="{82EABDED-6B36-4566-849D-F30AD9434719}" destId="{AF10B0D4-B718-4809-AB7D-0D1674A1B519}" srcOrd="0" destOrd="0" presId="urn:microsoft.com/office/officeart/2005/8/layout/hierarchy1"/>
    <dgm:cxn modelId="{A515F003-30E7-421F-B7BF-35943BD4BCE5}" type="presOf" srcId="{DFA7464F-99E4-4E3C-826D-C8B1D9B610C4}" destId="{AE532E12-D5C4-4839-B5E2-6628C543E294}" srcOrd="0" destOrd="0" presId="urn:microsoft.com/office/officeart/2005/8/layout/hierarchy1"/>
    <dgm:cxn modelId="{DEC3E508-B5F9-4B29-ABD7-59A5A6D7BBC1}" type="presOf" srcId="{7027A0A8-3C1A-4E36-B2FD-4AB5D7152420}" destId="{E5FC78B1-B136-4523-8B05-E7CD5EB5A173}" srcOrd="0" destOrd="0" presId="urn:microsoft.com/office/officeart/2005/8/layout/hierarchy1"/>
    <dgm:cxn modelId="{2AEDB010-2B51-4C43-A874-1AA84FE80683}" type="presOf" srcId="{4B35137D-2093-4831-955B-DABDBB31C9E5}" destId="{42766ECE-895C-43FE-9019-D805D5522D0F}" srcOrd="0" destOrd="0" presId="urn:microsoft.com/office/officeart/2005/8/layout/hierarchy1"/>
    <dgm:cxn modelId="{A5CC0422-69D6-41CD-8F1A-AF50BE9F8023}" type="presOf" srcId="{D45AFFE4-6D25-45F7-A867-7708D5E37ABF}" destId="{2A401F35-5BA8-40C9-8A27-1D7517552F71}" srcOrd="0" destOrd="0" presId="urn:microsoft.com/office/officeart/2005/8/layout/hierarchy1"/>
    <dgm:cxn modelId="{77787430-98C2-401C-B678-92CDEBD7AE2D}" type="presOf" srcId="{16EB1371-CB5F-4B37-A5E7-BC77FB682E0B}" destId="{FB972832-A969-4A16-B8F4-8CC5C41945FF}" srcOrd="0" destOrd="0" presId="urn:microsoft.com/office/officeart/2005/8/layout/hierarchy1"/>
    <dgm:cxn modelId="{4B331C45-019C-4A4B-80B0-EAA2FB83CE39}" type="presOf" srcId="{A9DD1ED1-CCD1-4221-8FF4-B02673F4CF3F}" destId="{1F04EB27-46F8-4F25-B371-5F09404BEC36}" srcOrd="0" destOrd="0" presId="urn:microsoft.com/office/officeart/2005/8/layout/hierarchy1"/>
    <dgm:cxn modelId="{60284B48-22AF-4546-A2E7-C676F9A4729D}" srcId="{82EABDED-6B36-4566-849D-F30AD9434719}" destId="{DFA7464F-99E4-4E3C-826D-C8B1D9B610C4}" srcOrd="0" destOrd="0" parTransId="{CEFA2B6C-A578-474F-94CE-C1ECE31E2B8C}" sibTransId="{E07FB337-4A47-49AA-AD1E-8132F3D33249}"/>
    <dgm:cxn modelId="{8E4CB04D-9044-4B77-94F6-51BEA3118EED}" type="presOf" srcId="{FFBFBD64-0701-4257-B0C4-B4F84A2FDD93}" destId="{13FD2CDC-EC2A-44DE-BE23-8F4FC93A755C}" srcOrd="0" destOrd="0" presId="urn:microsoft.com/office/officeart/2005/8/layout/hierarchy1"/>
    <dgm:cxn modelId="{6BB0FC7E-D903-4906-A2A7-2C87D657FF7D}" type="presOf" srcId="{3B4FE289-DC1F-4580-A05D-E5A3C3B5A975}" destId="{30F9B0FE-22DA-4306-898B-BC984BF06083}"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A535EE82-F3A8-4EDB-A63F-1CF29BD5A82E}" type="presOf" srcId="{5CDC7FC3-B606-4F45-97E1-7DF8F2B0B120}" destId="{F687EBA4-53B5-45A3-9616-00965275575E}" srcOrd="0" destOrd="0" presId="urn:microsoft.com/office/officeart/2005/8/layout/hierarchy1"/>
    <dgm:cxn modelId="{CF91A799-71FE-48A0-A007-FE78F609F1AC}" srcId="{2D12991A-320A-4A60-A404-1E98DB85D96A}" destId="{4B35137D-2093-4831-955B-DABDBB31C9E5}" srcOrd="0" destOrd="0" parTransId="{5CDC7FC3-B606-4F45-97E1-7DF8F2B0B120}" sibTransId="{5EDE3FD7-E64C-4FF4-ACF9-345ABB404EE4}"/>
    <dgm:cxn modelId="{0A24759C-E8A9-45D7-A368-691EE1CD90D2}" type="presOf" srcId="{2D12991A-320A-4A60-A404-1E98DB85D96A}" destId="{7B3D3075-FD98-4733-84A3-D20974023ABF}" srcOrd="0" destOrd="0" presId="urn:microsoft.com/office/officeart/2005/8/layout/hierarchy1"/>
    <dgm:cxn modelId="{DFEAFCBE-7F2A-4239-9888-DA563C3DF398}" type="presOf" srcId="{0A0C3F7D-2B79-4774-B735-996F735DF0BB}" destId="{8AB8703C-8903-48B3-A649-B636EA11CD0A}"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C5747BC9-2F6E-41B6-B62A-E2EB1A6707B6}" type="presOf" srcId="{CEFA2B6C-A578-474F-94CE-C1ECE31E2B8C}" destId="{E2B72E87-8736-4021-B702-CA35E50BF41A}" srcOrd="0" destOrd="0" presId="urn:microsoft.com/office/officeart/2005/8/layout/hierarchy1"/>
    <dgm:cxn modelId="{A04B5BD1-7380-4554-B9AB-F48BACEE6EB7}" type="presOf" srcId="{30EE6C8B-AC6B-4F0C-B2AD-D67AF65D1303}" destId="{BF40A65B-85C8-4F81-ADA1-2FC8C412B54F}" srcOrd="0" destOrd="0" presId="urn:microsoft.com/office/officeart/2005/8/layout/hierarchy1"/>
    <dgm:cxn modelId="{CF8B65E1-3EA4-46AD-A923-AAAC4FB885C4}" srcId="{A9DD1ED1-CCD1-4221-8FF4-B02673F4CF3F}" destId="{82EABDED-6B36-4566-849D-F30AD9434719}" srcOrd="0" destOrd="0" parTransId="{D3E36989-F6FF-45E5-91D7-D5C730347C89}" sibTransId="{FA8FB7F2-60D0-4852-86A9-1EC0E4A5210D}"/>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BAB711FB-C30F-4AA6-B8AC-620113775FE4}" srcId="{DFA7464F-99E4-4E3C-826D-C8B1D9B610C4}" destId="{16EB1371-CB5F-4B37-A5E7-BC77FB682E0B}" srcOrd="0" destOrd="0" parTransId="{7027A0A8-3C1A-4E36-B2FD-4AB5D7152420}" sibTransId="{A84DD474-AA8A-4CBB-84E6-8804EA729C0A}"/>
    <dgm:cxn modelId="{4423B4FF-2476-4866-A158-F7259DAD2047}" type="presOf" srcId="{57227B85-4576-4D62-8383-4959597535A2}" destId="{151EB5DF-7D4D-4001-A4D7-5C51FCF76BB3}" srcOrd="0" destOrd="0" presId="urn:microsoft.com/office/officeart/2005/8/layout/hierarchy1"/>
    <dgm:cxn modelId="{6D7A2C9A-F5CB-4B55-B08B-5DD774454BFC}" type="presParOf" srcId="{1F04EB27-46F8-4F25-B371-5F09404BEC36}" destId="{5FD8D13B-3F80-46BD-AC52-854C62DE282A}" srcOrd="0" destOrd="0" presId="urn:microsoft.com/office/officeart/2005/8/layout/hierarchy1"/>
    <dgm:cxn modelId="{9B7DB6DB-A5D5-4540-B0A6-3D34F6FF627F}" type="presParOf" srcId="{5FD8D13B-3F80-46BD-AC52-854C62DE282A}" destId="{5C9031D0-DB42-41A3-88FE-C444DA8650A3}" srcOrd="0" destOrd="0" presId="urn:microsoft.com/office/officeart/2005/8/layout/hierarchy1"/>
    <dgm:cxn modelId="{2A80A3F4-C33D-4B87-A729-223B3868BDA1}" type="presParOf" srcId="{5C9031D0-DB42-41A3-88FE-C444DA8650A3}" destId="{39433600-5AA5-45BD-B035-37FBC5A7FA11}" srcOrd="0" destOrd="0" presId="urn:microsoft.com/office/officeart/2005/8/layout/hierarchy1"/>
    <dgm:cxn modelId="{3A30B91D-6377-41D0-912D-D690C8CC1427}" type="presParOf" srcId="{5C9031D0-DB42-41A3-88FE-C444DA8650A3}" destId="{AF10B0D4-B718-4809-AB7D-0D1674A1B519}" srcOrd="1" destOrd="0" presId="urn:microsoft.com/office/officeart/2005/8/layout/hierarchy1"/>
    <dgm:cxn modelId="{027130F9-5410-44AB-9F67-F04EA715E032}" type="presParOf" srcId="{5FD8D13B-3F80-46BD-AC52-854C62DE282A}" destId="{BACA96CD-8DC0-4B41-9411-BA402895DCE3}" srcOrd="1" destOrd="0" presId="urn:microsoft.com/office/officeart/2005/8/layout/hierarchy1"/>
    <dgm:cxn modelId="{8F9254E4-8BCC-4369-8CD3-4F011A9A479A}" type="presParOf" srcId="{BACA96CD-8DC0-4B41-9411-BA402895DCE3}" destId="{E2B72E87-8736-4021-B702-CA35E50BF41A}" srcOrd="0" destOrd="0" presId="urn:microsoft.com/office/officeart/2005/8/layout/hierarchy1"/>
    <dgm:cxn modelId="{1BA11685-D074-477A-B44D-D44A4CE8723C}" type="presParOf" srcId="{BACA96CD-8DC0-4B41-9411-BA402895DCE3}" destId="{48D18FC6-92C6-4990-8B3C-05C7B6D9090F}" srcOrd="1" destOrd="0" presId="urn:microsoft.com/office/officeart/2005/8/layout/hierarchy1"/>
    <dgm:cxn modelId="{7614953E-BA0F-472D-BCAA-47AD1342EBE8}" type="presParOf" srcId="{48D18FC6-92C6-4990-8B3C-05C7B6D9090F}" destId="{BF94E8BD-0C1D-457E-AE98-114A8143A785}" srcOrd="0" destOrd="0" presId="urn:microsoft.com/office/officeart/2005/8/layout/hierarchy1"/>
    <dgm:cxn modelId="{996584E9-5D1B-4DE9-B24B-BD76AD6331C3}" type="presParOf" srcId="{BF94E8BD-0C1D-457E-AE98-114A8143A785}" destId="{B551797E-BF9B-433E-8A29-FDBD5420392C}" srcOrd="0" destOrd="0" presId="urn:microsoft.com/office/officeart/2005/8/layout/hierarchy1"/>
    <dgm:cxn modelId="{92A48C63-4665-483C-9F29-C9DA80B53CED}" type="presParOf" srcId="{BF94E8BD-0C1D-457E-AE98-114A8143A785}" destId="{AE532E12-D5C4-4839-B5E2-6628C543E294}" srcOrd="1" destOrd="0" presId="urn:microsoft.com/office/officeart/2005/8/layout/hierarchy1"/>
    <dgm:cxn modelId="{5842A759-4FC0-4B85-9D79-396F7CC1148A}" type="presParOf" srcId="{48D18FC6-92C6-4990-8B3C-05C7B6D9090F}" destId="{25838505-E62B-4F4B-A546-87639D3B4CFB}" srcOrd="1" destOrd="0" presId="urn:microsoft.com/office/officeart/2005/8/layout/hierarchy1"/>
    <dgm:cxn modelId="{65A759B4-5F88-4592-AAE3-6ED811952A5B}" type="presParOf" srcId="{25838505-E62B-4F4B-A546-87639D3B4CFB}" destId="{E5FC78B1-B136-4523-8B05-E7CD5EB5A173}" srcOrd="0" destOrd="0" presId="urn:microsoft.com/office/officeart/2005/8/layout/hierarchy1"/>
    <dgm:cxn modelId="{3F394FB8-D926-4FEE-9A24-9117E17CB9ED}" type="presParOf" srcId="{25838505-E62B-4F4B-A546-87639D3B4CFB}" destId="{F3A47605-9CCD-4F23-AA7E-B3024DF3EC23}" srcOrd="1" destOrd="0" presId="urn:microsoft.com/office/officeart/2005/8/layout/hierarchy1"/>
    <dgm:cxn modelId="{03558B59-5D55-433F-B435-FEFC7AD09FE4}" type="presParOf" srcId="{F3A47605-9CCD-4F23-AA7E-B3024DF3EC23}" destId="{BB37B999-87ED-48ED-BBA3-70CCCBEEF357}" srcOrd="0" destOrd="0" presId="urn:microsoft.com/office/officeart/2005/8/layout/hierarchy1"/>
    <dgm:cxn modelId="{3AE1BAB6-40B4-4953-9A54-69C6B0410B67}" type="presParOf" srcId="{BB37B999-87ED-48ED-BBA3-70CCCBEEF357}" destId="{30562E8C-C669-4BBD-A83C-425FF1FB8E24}" srcOrd="0" destOrd="0" presId="urn:microsoft.com/office/officeart/2005/8/layout/hierarchy1"/>
    <dgm:cxn modelId="{2FBEA5D7-73DE-472D-B51E-D754622E82B5}" type="presParOf" srcId="{BB37B999-87ED-48ED-BBA3-70CCCBEEF357}" destId="{FB972832-A969-4A16-B8F4-8CC5C41945FF}" srcOrd="1" destOrd="0" presId="urn:microsoft.com/office/officeart/2005/8/layout/hierarchy1"/>
    <dgm:cxn modelId="{46639326-9AF3-4EC7-A5D8-A15B032A3C87}" type="presParOf" srcId="{F3A47605-9CCD-4F23-AA7E-B3024DF3EC23}" destId="{BDD33F69-063F-4EC0-A6C4-0AC13C770F74}" srcOrd="1" destOrd="0" presId="urn:microsoft.com/office/officeart/2005/8/layout/hierarchy1"/>
    <dgm:cxn modelId="{6AC4EE3C-3FC7-495C-A830-CF2AB9B39DF8}" type="presParOf" srcId="{BDD33F69-063F-4EC0-A6C4-0AC13C770F74}" destId="{13FD2CDC-EC2A-44DE-BE23-8F4FC93A755C}" srcOrd="0" destOrd="0" presId="urn:microsoft.com/office/officeart/2005/8/layout/hierarchy1"/>
    <dgm:cxn modelId="{8CC5E82E-F58F-4DFD-BC87-F8471A938F5A}" type="presParOf" srcId="{BDD33F69-063F-4EC0-A6C4-0AC13C770F74}" destId="{28903026-1139-458A-A10E-7EE71804A286}" srcOrd="1" destOrd="0" presId="urn:microsoft.com/office/officeart/2005/8/layout/hierarchy1"/>
    <dgm:cxn modelId="{3F58B438-F01B-487C-BCEA-1A14B39304B6}" type="presParOf" srcId="{28903026-1139-458A-A10E-7EE71804A286}" destId="{9C687982-98BA-4024-8FFB-60009E74F700}" srcOrd="0" destOrd="0" presId="urn:microsoft.com/office/officeart/2005/8/layout/hierarchy1"/>
    <dgm:cxn modelId="{493EBBE3-6CF2-4824-B586-DE03D23D0864}" type="presParOf" srcId="{9C687982-98BA-4024-8FFB-60009E74F700}" destId="{DF19532D-1CDE-40E8-B84A-E45153A9E1E1}" srcOrd="0" destOrd="0" presId="urn:microsoft.com/office/officeart/2005/8/layout/hierarchy1"/>
    <dgm:cxn modelId="{85390861-DD7A-46E1-A825-920C730ABB1C}" type="presParOf" srcId="{9C687982-98BA-4024-8FFB-60009E74F700}" destId="{7B3D3075-FD98-4733-84A3-D20974023ABF}" srcOrd="1" destOrd="0" presId="urn:microsoft.com/office/officeart/2005/8/layout/hierarchy1"/>
    <dgm:cxn modelId="{392080CC-58A8-4F07-839C-E8B43BEC6F6C}" type="presParOf" srcId="{28903026-1139-458A-A10E-7EE71804A286}" destId="{ABEE6836-8065-409B-9612-444454B93E10}" srcOrd="1" destOrd="0" presId="urn:microsoft.com/office/officeart/2005/8/layout/hierarchy1"/>
    <dgm:cxn modelId="{6B4225DE-F1AF-4D0F-970E-4E7E846EB42B}" type="presParOf" srcId="{ABEE6836-8065-409B-9612-444454B93E10}" destId="{F687EBA4-53B5-45A3-9616-00965275575E}" srcOrd="0" destOrd="0" presId="urn:microsoft.com/office/officeart/2005/8/layout/hierarchy1"/>
    <dgm:cxn modelId="{0EBC2E9E-C6AD-4032-B553-79788E912ED6}" type="presParOf" srcId="{ABEE6836-8065-409B-9612-444454B93E10}" destId="{A84555E1-E86D-4805-973E-7F3FCED7E733}" srcOrd="1" destOrd="0" presId="urn:microsoft.com/office/officeart/2005/8/layout/hierarchy1"/>
    <dgm:cxn modelId="{EEA1703D-795C-4262-AAB7-21DC6FEC1B2F}" type="presParOf" srcId="{A84555E1-E86D-4805-973E-7F3FCED7E733}" destId="{2799BB50-9383-44BC-95F0-ED2EDBF0247C}" srcOrd="0" destOrd="0" presId="urn:microsoft.com/office/officeart/2005/8/layout/hierarchy1"/>
    <dgm:cxn modelId="{418BA1FE-589E-4B6D-8D80-11C8EDD861B1}" type="presParOf" srcId="{2799BB50-9383-44BC-95F0-ED2EDBF0247C}" destId="{C28FA78F-C4F0-4202-A6B4-53013E80DF2E}" srcOrd="0" destOrd="0" presId="urn:microsoft.com/office/officeart/2005/8/layout/hierarchy1"/>
    <dgm:cxn modelId="{217A32F0-17A9-40BD-AF50-2CE2CE308027}" type="presParOf" srcId="{2799BB50-9383-44BC-95F0-ED2EDBF0247C}" destId="{42766ECE-895C-43FE-9019-D805D5522D0F}" srcOrd="1" destOrd="0" presId="urn:microsoft.com/office/officeart/2005/8/layout/hierarchy1"/>
    <dgm:cxn modelId="{5DB03952-6142-449D-9D0A-47C8C25EF560}" type="presParOf" srcId="{A84555E1-E86D-4805-973E-7F3FCED7E733}" destId="{52AF789E-9C5D-4F50-BAD9-836663D5822C}" srcOrd="1" destOrd="0" presId="urn:microsoft.com/office/officeart/2005/8/layout/hierarchy1"/>
    <dgm:cxn modelId="{4A44F908-28EC-4C8F-89DF-FE3042BC7F08}" type="presParOf" srcId="{BDD33F69-063F-4EC0-A6C4-0AC13C770F74}" destId="{BF40A65B-85C8-4F81-ADA1-2FC8C412B54F}" srcOrd="2" destOrd="0" presId="urn:microsoft.com/office/officeart/2005/8/layout/hierarchy1"/>
    <dgm:cxn modelId="{1C9B2691-ABE5-4335-A3EA-BD68503C8A5F}" type="presParOf" srcId="{BDD33F69-063F-4EC0-A6C4-0AC13C770F74}" destId="{FC0AD87E-497F-4066-85F7-6C9CFB15C5E7}" srcOrd="3" destOrd="0" presId="urn:microsoft.com/office/officeart/2005/8/layout/hierarchy1"/>
    <dgm:cxn modelId="{B3C94B80-C159-434A-82D1-316F8D577C24}" type="presParOf" srcId="{FC0AD87E-497F-4066-85F7-6C9CFB15C5E7}" destId="{691296AC-BF10-497B-BBCC-DD727FF85D1D}" srcOrd="0" destOrd="0" presId="urn:microsoft.com/office/officeart/2005/8/layout/hierarchy1"/>
    <dgm:cxn modelId="{7339AB9F-2AF8-4939-AEF5-C96FD42A4F53}" type="presParOf" srcId="{691296AC-BF10-497B-BBCC-DD727FF85D1D}" destId="{F400DC93-A1C9-4293-9404-80D675E4811F}" srcOrd="0" destOrd="0" presId="urn:microsoft.com/office/officeart/2005/8/layout/hierarchy1"/>
    <dgm:cxn modelId="{20263160-463C-4F07-B25A-3BCAEBB664AC}" type="presParOf" srcId="{691296AC-BF10-497B-BBCC-DD727FF85D1D}" destId="{151EB5DF-7D4D-4001-A4D7-5C51FCF76BB3}" srcOrd="1" destOrd="0" presId="urn:microsoft.com/office/officeart/2005/8/layout/hierarchy1"/>
    <dgm:cxn modelId="{7BDA6ADF-22F3-4174-B9F2-038AF8322E17}" type="presParOf" srcId="{FC0AD87E-497F-4066-85F7-6C9CFB15C5E7}" destId="{8C647340-87B1-458C-88E0-70313359341F}" srcOrd="1" destOrd="0" presId="urn:microsoft.com/office/officeart/2005/8/layout/hierarchy1"/>
    <dgm:cxn modelId="{AA893D40-E4FD-4F19-BB29-01A60B526B8E}" type="presParOf" srcId="{8C647340-87B1-458C-88E0-70313359341F}" destId="{8AB8703C-8903-48B3-A649-B636EA11CD0A}" srcOrd="0" destOrd="0" presId="urn:microsoft.com/office/officeart/2005/8/layout/hierarchy1"/>
    <dgm:cxn modelId="{077EAF37-9DA4-40EB-BC12-2E288212BD1C}" type="presParOf" srcId="{8C647340-87B1-458C-88E0-70313359341F}" destId="{72175A08-DB5C-420F-9937-D730508D368C}" srcOrd="1" destOrd="0" presId="urn:microsoft.com/office/officeart/2005/8/layout/hierarchy1"/>
    <dgm:cxn modelId="{1D0C213F-6E0C-4F69-A98A-C2EBBC8A351D}" type="presParOf" srcId="{72175A08-DB5C-420F-9937-D730508D368C}" destId="{83040742-B942-4C5E-A509-006C254394D0}" srcOrd="0" destOrd="0" presId="urn:microsoft.com/office/officeart/2005/8/layout/hierarchy1"/>
    <dgm:cxn modelId="{AFA0ADA8-D39D-4CC0-825A-AFB595019CCB}" type="presParOf" srcId="{83040742-B942-4C5E-A509-006C254394D0}" destId="{0DD23B8F-CD52-4EF0-A25C-7F75674A7FE8}" srcOrd="0" destOrd="0" presId="urn:microsoft.com/office/officeart/2005/8/layout/hierarchy1"/>
    <dgm:cxn modelId="{3039BE8B-721E-4212-A230-F24E0BFD2C6C}" type="presParOf" srcId="{83040742-B942-4C5E-A509-006C254394D0}" destId="{2A401F35-5BA8-40C9-8A27-1D7517552F71}" srcOrd="1" destOrd="0" presId="urn:microsoft.com/office/officeart/2005/8/layout/hierarchy1"/>
    <dgm:cxn modelId="{55FD1212-E869-4E0B-BFD4-8D6753EFB402}" type="presParOf" srcId="{72175A08-DB5C-420F-9937-D730508D368C}" destId="{2C46E292-FC11-41B1-B734-623934279E57}" srcOrd="1" destOrd="0" presId="urn:microsoft.com/office/officeart/2005/8/layout/hierarchy1"/>
    <dgm:cxn modelId="{8E5B6E6A-8ED1-4B00-9CD5-374107FCB587}" type="presParOf" srcId="{8C647340-87B1-458C-88E0-70313359341F}" destId="{025D225B-8EF8-4F24-9824-8937F4994C4E}" srcOrd="2" destOrd="0" presId="urn:microsoft.com/office/officeart/2005/8/layout/hierarchy1"/>
    <dgm:cxn modelId="{2CA16EAA-BFEF-4203-AA56-C2B2C86AEDF5}" type="presParOf" srcId="{8C647340-87B1-458C-88E0-70313359341F}" destId="{E977D147-8368-44D6-B492-908A0CE65CBE}" srcOrd="3" destOrd="0" presId="urn:microsoft.com/office/officeart/2005/8/layout/hierarchy1"/>
    <dgm:cxn modelId="{78FE4D72-23A4-4A18-B984-AA001057DE3A}" type="presParOf" srcId="{E977D147-8368-44D6-B492-908A0CE65CBE}" destId="{7B205D52-696D-4C3F-B22A-BBAD0041F8F5}" srcOrd="0" destOrd="0" presId="urn:microsoft.com/office/officeart/2005/8/layout/hierarchy1"/>
    <dgm:cxn modelId="{600E3320-7FFE-4D19-9432-62B723379677}" type="presParOf" srcId="{7B205D52-696D-4C3F-B22A-BBAD0041F8F5}" destId="{0F7B726A-4ECE-4EFF-AEBF-2F6DD563957E}" srcOrd="0" destOrd="0" presId="urn:microsoft.com/office/officeart/2005/8/layout/hierarchy1"/>
    <dgm:cxn modelId="{9E7618DF-3361-4EB9-9BDB-6367C184DA49}" type="presParOf" srcId="{7B205D52-696D-4C3F-B22A-BBAD0041F8F5}" destId="{30F9B0FE-22DA-4306-898B-BC984BF06083}" srcOrd="1" destOrd="0" presId="urn:microsoft.com/office/officeart/2005/8/layout/hierarchy1"/>
    <dgm:cxn modelId="{39281B6B-6275-44AC-8906-34BA21BD53C6}" type="presParOf" srcId="{E977D147-8368-44D6-B492-908A0CE65CBE}" destId="{35457F76-9307-4C19-92C3-2EAF2AC2795E}"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3_2" csCatId="accent3" phldr="1"/>
      <dgm:spPr/>
      <dgm:t>
        <a:bodyPr/>
        <a:lstStyle/>
        <a:p>
          <a:endParaRPr lang="en-US"/>
        </a:p>
      </dgm:t>
    </dgm:pt>
    <dgm:pt modelId="{82EABDED-6B36-4566-849D-F30AD9434719}">
      <dgm:prSet phldrT="[Text]" custT="1"/>
      <dgm:spPr/>
      <dgm:t>
        <a:bodyPr/>
        <a:lstStyle/>
        <a:p>
          <a:r>
            <a:rPr lang="en-US" sz="1200" dirty="0"/>
            <a:t>Enterprise or partner</a:t>
          </a:r>
        </a:p>
      </dgm:t>
    </dgm:pt>
    <dgm:pt modelId="{D3E36989-F6FF-45E5-91D7-D5C730347C89}" type="parTrans" cxnId="{CF8B65E1-3EA4-46AD-A923-AAAC4FB885C4}">
      <dgm:prSet/>
      <dgm:spPr/>
      <dgm:t>
        <a:bodyPr/>
        <a:lstStyle/>
        <a:p>
          <a:endParaRPr lang="en-US" sz="1200"/>
        </a:p>
      </dgm:t>
    </dgm:pt>
    <dgm:pt modelId="{FA8FB7F2-60D0-4852-86A9-1EC0E4A5210D}" type="sibTrans" cxnId="{CF8B65E1-3EA4-46AD-A923-AAAC4FB885C4}">
      <dgm:prSet/>
      <dgm:spPr/>
      <dgm:t>
        <a:bodyPr/>
        <a:lstStyle/>
        <a:p>
          <a:endParaRPr lang="en-US" sz="1200"/>
        </a:p>
      </dgm:t>
    </dgm:pt>
    <dgm:pt modelId="{16EB1371-CB5F-4B37-A5E7-BC77FB682E0B}">
      <dgm:prSet phldrT="[Text]" custT="1"/>
      <dgm:spPr/>
      <dgm:t>
        <a:bodyPr/>
        <a:lstStyle/>
        <a:p>
          <a:r>
            <a:rPr lang="en-US" sz="1200" dirty="0"/>
            <a:t>Azure resource group and Windows image</a:t>
          </a:r>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dirty="0"/>
            <a:t>VM</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dirty="0"/>
            <a:t>Subset of apps on image</a:t>
          </a:r>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45AFFE4-6D25-45F7-A867-7708D5E37ABF}">
      <dgm:prSet phldrT="[Text]" custT="1"/>
      <dgm:spPr/>
      <dgm:t>
        <a:bodyPr/>
        <a:lstStyle/>
        <a:p>
          <a:r>
            <a:rPr lang="en-US" sz="1200" dirty="0"/>
            <a:t>Published Windows application</a:t>
          </a:r>
        </a:p>
      </dgm:t>
    </dgm:pt>
    <dgm:pt modelId="{0A0C3F7D-2B79-4774-B735-996F735DF0BB}" type="parTrans" cxnId="{A1E8DDE7-BA1B-4490-B7F4-AD12265AA790}">
      <dgm:prSet/>
      <dgm:spPr/>
      <dgm:t>
        <a:bodyPr/>
        <a:lstStyle/>
        <a:p>
          <a:endParaRPr lang="en-US" sz="1200"/>
        </a:p>
      </dgm:t>
    </dgm:pt>
    <dgm:pt modelId="{51DF911C-FD72-4910-B450-DACB7059D091}" type="sibTrans" cxnId="{A1E8DDE7-BA1B-4490-B7F4-AD12265AA790}">
      <dgm:prSet/>
      <dgm:spPr/>
      <dgm:t>
        <a:bodyPr/>
        <a:lstStyle/>
        <a:p>
          <a:endParaRPr lang="en-US" sz="1200"/>
        </a:p>
      </dgm:t>
    </dgm:pt>
    <dgm:pt modelId="{DFA7464F-99E4-4E3C-826D-C8B1D9B610C4}">
      <dgm:prSet phldrT="[Text]" custT="1"/>
      <dgm:spPr/>
      <dgm:t>
        <a:bodyPr/>
        <a:lstStyle/>
        <a:p>
          <a:r>
            <a:rPr lang="en-US" sz="1200" dirty="0"/>
            <a:t>Azure AD 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dirty="0"/>
            <a:t>Published Windows desktop</a:t>
          </a:r>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E9A5103B-E74F-4D82-8FBF-3BCD1F54E4AE}">
      <dgm:prSet phldrT="[Text]" custT="1"/>
      <dgm:spPr/>
      <dgm:t>
        <a:bodyPr/>
        <a:lstStyle/>
        <a:p>
          <a:r>
            <a:rPr lang="en-US" sz="1200" dirty="0">
              <a:cs typeface="Segoe UI Semibold"/>
            </a:rPr>
            <a:t>Signed-in </a:t>
          </a:r>
          <a:r>
            <a:rPr lang="en-US" sz="1200" dirty="0"/>
            <a:t>user</a:t>
          </a:r>
        </a:p>
      </dgm:t>
    </dgm:pt>
    <dgm:pt modelId="{34B88F0E-84E4-45E6-8D33-94508F715D6F}" type="parTrans" cxnId="{BFBE0E39-384E-46DA-9EF2-4B5360B7E4BF}">
      <dgm:prSet/>
      <dgm:spPr/>
      <dgm:t>
        <a:bodyPr/>
        <a:lstStyle/>
        <a:p>
          <a:endParaRPr lang="en-US" sz="1200"/>
        </a:p>
      </dgm:t>
    </dgm:pt>
    <dgm:pt modelId="{7FABDA06-C9B9-4AE2-954D-262A10EF30BF}" type="sibTrans" cxnId="{BFBE0E39-384E-46DA-9EF2-4B5360B7E4BF}">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5FD8D13B-3F80-46BD-AC52-854C62DE282A}" type="pres">
      <dgm:prSet presAssocID="{82EABDED-6B36-4566-849D-F30AD9434719}" presName="hierRoot1" presStyleCnt="0"/>
      <dgm:spPr/>
    </dgm:pt>
    <dgm:pt modelId="{5C9031D0-DB42-41A3-88FE-C444DA8650A3}" type="pres">
      <dgm:prSet presAssocID="{82EABDED-6B36-4566-849D-F30AD9434719}" presName="composite" presStyleCnt="0"/>
      <dgm:spPr/>
    </dgm:pt>
    <dgm:pt modelId="{39433600-5AA5-45BD-B035-37FBC5A7FA11}" type="pres">
      <dgm:prSet presAssocID="{82EABDED-6B36-4566-849D-F30AD9434719}" presName="background" presStyleLbl="node0" presStyleIdx="0" presStyleCnt="1"/>
      <dgm:spPr/>
    </dgm:pt>
    <dgm:pt modelId="{AF10B0D4-B718-4809-AB7D-0D1674A1B519}" type="pres">
      <dgm:prSet presAssocID="{82EABDED-6B36-4566-849D-F30AD9434719}" presName="text" presStyleLbl="fgAcc0" presStyleIdx="0" presStyleCnt="1" custLinFactNeighborX="-241" custLinFactNeighborY="4720">
        <dgm:presLayoutVars>
          <dgm:chPref val="3"/>
        </dgm:presLayoutVars>
      </dgm:prSet>
      <dgm:spPr/>
    </dgm:pt>
    <dgm:pt modelId="{BACA96CD-8DC0-4B41-9411-BA402895DCE3}" type="pres">
      <dgm:prSet presAssocID="{82EABDED-6B36-4566-849D-F30AD9434719}" presName="hierChild2" presStyleCnt="0"/>
      <dgm:spPr/>
    </dgm:pt>
    <dgm:pt modelId="{E2B72E87-8736-4021-B702-CA35E50BF41A}" type="pres">
      <dgm:prSet presAssocID="{CEFA2B6C-A578-474F-94CE-C1ECE31E2B8C}" presName="Name10" presStyleLbl="parChTrans1D2" presStyleIdx="0" presStyleCnt="1"/>
      <dgm:spPr/>
    </dgm:pt>
    <dgm:pt modelId="{48D18FC6-92C6-4990-8B3C-05C7B6D9090F}" type="pres">
      <dgm:prSet presAssocID="{DFA7464F-99E4-4E3C-826D-C8B1D9B610C4}" presName="hierRoot2" presStyleCnt="0"/>
      <dgm:spPr/>
    </dgm:pt>
    <dgm:pt modelId="{BF94E8BD-0C1D-457E-AE98-114A8143A785}" type="pres">
      <dgm:prSet presAssocID="{DFA7464F-99E4-4E3C-826D-C8B1D9B610C4}" presName="composite2" presStyleCnt="0"/>
      <dgm:spPr/>
    </dgm:pt>
    <dgm:pt modelId="{B551797E-BF9B-433E-8A29-FDBD5420392C}" type="pres">
      <dgm:prSet presAssocID="{DFA7464F-99E4-4E3C-826D-C8B1D9B610C4}" presName="background2" presStyleLbl="node2" presStyleIdx="0" presStyleCnt="1"/>
      <dgm:spPr/>
    </dgm:pt>
    <dgm:pt modelId="{AE532E12-D5C4-4839-B5E2-6628C543E294}" type="pres">
      <dgm:prSet presAssocID="{DFA7464F-99E4-4E3C-826D-C8B1D9B610C4}" presName="text2" presStyleLbl="fgAcc2" presStyleIdx="0" presStyleCnt="1">
        <dgm:presLayoutVars>
          <dgm:chPref val="3"/>
        </dgm:presLayoutVars>
      </dgm:prSet>
      <dgm:spPr/>
    </dgm:pt>
    <dgm:pt modelId="{25838505-E62B-4F4B-A546-87639D3B4CFB}" type="pres">
      <dgm:prSet presAssocID="{DFA7464F-99E4-4E3C-826D-C8B1D9B610C4}" presName="hierChild3" presStyleCnt="0"/>
      <dgm:spPr/>
    </dgm:pt>
    <dgm:pt modelId="{E5FC78B1-B136-4523-8B05-E7CD5EB5A173}" type="pres">
      <dgm:prSet presAssocID="{7027A0A8-3C1A-4E36-B2FD-4AB5D7152420}" presName="Name17" presStyleLbl="parChTrans1D3" presStyleIdx="0" presStyleCnt="1"/>
      <dgm:spPr/>
    </dgm:pt>
    <dgm:pt modelId="{F3A47605-9CCD-4F23-AA7E-B3024DF3EC23}" type="pres">
      <dgm:prSet presAssocID="{16EB1371-CB5F-4B37-A5E7-BC77FB682E0B}" presName="hierRoot3" presStyleCnt="0"/>
      <dgm:spPr/>
    </dgm:pt>
    <dgm:pt modelId="{BB37B999-87ED-48ED-BBA3-70CCCBEEF357}" type="pres">
      <dgm:prSet presAssocID="{16EB1371-CB5F-4B37-A5E7-BC77FB682E0B}" presName="composite3" presStyleCnt="0"/>
      <dgm:spPr/>
    </dgm:pt>
    <dgm:pt modelId="{30562E8C-C669-4BBD-A83C-425FF1FB8E24}" type="pres">
      <dgm:prSet presAssocID="{16EB1371-CB5F-4B37-A5E7-BC77FB682E0B}" presName="background3" presStyleLbl="node3" presStyleIdx="0" presStyleCnt="1"/>
      <dgm:spPr/>
    </dgm:pt>
    <dgm:pt modelId="{FB972832-A969-4A16-B8F4-8CC5C41945FF}" type="pres">
      <dgm:prSet presAssocID="{16EB1371-CB5F-4B37-A5E7-BC77FB682E0B}" presName="text3" presStyleLbl="fgAcc3" presStyleIdx="0" presStyleCnt="1">
        <dgm:presLayoutVars>
          <dgm:chPref val="3"/>
        </dgm:presLayoutVars>
      </dgm:prSet>
      <dgm:spPr/>
    </dgm:pt>
    <dgm:pt modelId="{BDD33F69-063F-4EC0-A6C4-0AC13C770F74}" type="pres">
      <dgm:prSet presAssocID="{16EB1371-CB5F-4B37-A5E7-BC77FB682E0B}" presName="hierChild4" presStyleCnt="0"/>
      <dgm:spPr/>
    </dgm:pt>
    <dgm:pt modelId="{13FD2CDC-EC2A-44DE-BE23-8F4FC93A755C}" type="pres">
      <dgm:prSet presAssocID="{FFBFBD64-0701-4257-B0C4-B4F84A2FDD93}" presName="Name23" presStyleLbl="parChTrans1D4" presStyleIdx="0" presStyleCnt="5"/>
      <dgm:spPr/>
    </dgm:pt>
    <dgm:pt modelId="{28903026-1139-458A-A10E-7EE71804A286}" type="pres">
      <dgm:prSet presAssocID="{2D12991A-320A-4A60-A404-1E98DB85D96A}" presName="hierRoot4" presStyleCnt="0"/>
      <dgm:spPr/>
    </dgm:pt>
    <dgm:pt modelId="{9C687982-98BA-4024-8FFB-60009E74F700}" type="pres">
      <dgm:prSet presAssocID="{2D12991A-320A-4A60-A404-1E98DB85D96A}" presName="composite4" presStyleCnt="0"/>
      <dgm:spPr/>
    </dgm:pt>
    <dgm:pt modelId="{DF19532D-1CDE-40E8-B84A-E45153A9E1E1}" type="pres">
      <dgm:prSet presAssocID="{2D12991A-320A-4A60-A404-1E98DB85D96A}" presName="background4" presStyleLbl="node4" presStyleIdx="0" presStyleCnt="5"/>
      <dgm:spPr/>
    </dgm:pt>
    <dgm:pt modelId="{7B3D3075-FD98-4733-84A3-D20974023ABF}" type="pres">
      <dgm:prSet presAssocID="{2D12991A-320A-4A60-A404-1E98DB85D96A}" presName="text4" presStyleLbl="fgAcc4" presStyleIdx="0" presStyleCnt="5">
        <dgm:presLayoutVars>
          <dgm:chPref val="3"/>
        </dgm:presLayoutVars>
      </dgm:prSet>
      <dgm:spPr/>
    </dgm:pt>
    <dgm:pt modelId="{ABEE6836-8065-409B-9612-444454B93E10}" type="pres">
      <dgm:prSet presAssocID="{2D12991A-320A-4A60-A404-1E98DB85D96A}" presName="hierChild5" presStyleCnt="0"/>
      <dgm:spPr/>
    </dgm:pt>
    <dgm:pt modelId="{8ECC2407-C1A4-43F1-9F51-E19D15692476}" type="pres">
      <dgm:prSet presAssocID="{34B88F0E-84E4-45E6-8D33-94508F715D6F}" presName="Name23" presStyleLbl="parChTrans1D4" presStyleIdx="1" presStyleCnt="5"/>
      <dgm:spPr/>
    </dgm:pt>
    <dgm:pt modelId="{6762415A-907C-4D01-8020-48FAD8BEE22C}" type="pres">
      <dgm:prSet presAssocID="{E9A5103B-E74F-4D82-8FBF-3BCD1F54E4AE}" presName="hierRoot4" presStyleCnt="0"/>
      <dgm:spPr/>
    </dgm:pt>
    <dgm:pt modelId="{F717675C-83C8-4FC9-A133-9D2ED93B8725}" type="pres">
      <dgm:prSet presAssocID="{E9A5103B-E74F-4D82-8FBF-3BCD1F54E4AE}" presName="composite4" presStyleCnt="0"/>
      <dgm:spPr/>
    </dgm:pt>
    <dgm:pt modelId="{C3249CB6-A2DA-4679-AB98-2FA767D04C06}" type="pres">
      <dgm:prSet presAssocID="{E9A5103B-E74F-4D82-8FBF-3BCD1F54E4AE}" presName="background4" presStyleLbl="node4" presStyleIdx="1" presStyleCnt="5"/>
      <dgm:spPr/>
    </dgm:pt>
    <dgm:pt modelId="{35A66EFA-B088-4F91-8A26-798452D3EDE1}" type="pres">
      <dgm:prSet presAssocID="{E9A5103B-E74F-4D82-8FBF-3BCD1F54E4AE}" presName="text4" presStyleLbl="fgAcc4" presStyleIdx="1" presStyleCnt="5">
        <dgm:presLayoutVars>
          <dgm:chPref val="3"/>
        </dgm:presLayoutVars>
      </dgm:prSet>
      <dgm:spPr/>
    </dgm:pt>
    <dgm:pt modelId="{FA813555-8835-4B9A-B895-4B9AA3B3D456}" type="pres">
      <dgm:prSet presAssocID="{E9A5103B-E74F-4D82-8FBF-3BCD1F54E4AE}" presName="hierChild5" presStyleCnt="0"/>
      <dgm:spPr/>
    </dgm:pt>
    <dgm:pt modelId="{BF40A65B-85C8-4F81-ADA1-2FC8C412B54F}" type="pres">
      <dgm:prSet presAssocID="{30EE6C8B-AC6B-4F0C-B2AD-D67AF65D1303}" presName="Name23" presStyleLbl="parChTrans1D4" presStyleIdx="2" presStyleCnt="5"/>
      <dgm:spPr/>
    </dgm:pt>
    <dgm:pt modelId="{FC0AD87E-497F-4066-85F7-6C9CFB15C5E7}" type="pres">
      <dgm:prSet presAssocID="{57227B85-4576-4D62-8383-4959597535A2}" presName="hierRoot4" presStyleCnt="0"/>
      <dgm:spPr/>
    </dgm:pt>
    <dgm:pt modelId="{691296AC-BF10-497B-BBCC-DD727FF85D1D}" type="pres">
      <dgm:prSet presAssocID="{57227B85-4576-4D62-8383-4959597535A2}" presName="composite4" presStyleCnt="0"/>
      <dgm:spPr/>
    </dgm:pt>
    <dgm:pt modelId="{F400DC93-A1C9-4293-9404-80D675E4811F}" type="pres">
      <dgm:prSet presAssocID="{57227B85-4576-4D62-8383-4959597535A2}" presName="background4" presStyleLbl="node4" presStyleIdx="2" presStyleCnt="5"/>
      <dgm:spPr/>
    </dgm:pt>
    <dgm:pt modelId="{151EB5DF-7D4D-4001-A4D7-5C51FCF76BB3}" type="pres">
      <dgm:prSet presAssocID="{57227B85-4576-4D62-8383-4959597535A2}" presName="text4" presStyleLbl="fgAcc4" presStyleIdx="2" presStyleCnt="5">
        <dgm:presLayoutVars>
          <dgm:chPref val="3"/>
        </dgm:presLayoutVars>
      </dgm:prSet>
      <dgm:spPr/>
    </dgm:pt>
    <dgm:pt modelId="{8C647340-87B1-458C-88E0-70313359341F}" type="pres">
      <dgm:prSet presAssocID="{57227B85-4576-4D62-8383-4959597535A2}" presName="hierChild5" presStyleCnt="0"/>
      <dgm:spPr/>
    </dgm:pt>
    <dgm:pt modelId="{8AB8703C-8903-48B3-A649-B636EA11CD0A}" type="pres">
      <dgm:prSet presAssocID="{0A0C3F7D-2B79-4774-B735-996F735DF0BB}" presName="Name23" presStyleLbl="parChTrans1D4" presStyleIdx="3" presStyleCnt="5"/>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3" presStyleCnt="5"/>
      <dgm:spPr/>
    </dgm:pt>
    <dgm:pt modelId="{2A401F35-5BA8-40C9-8A27-1D7517552F71}" type="pres">
      <dgm:prSet presAssocID="{D45AFFE4-6D25-45F7-A867-7708D5E37ABF}" presName="text4" presStyleLbl="fgAcc4" presStyleIdx="3" presStyleCnt="5">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4" presStyleCnt="5"/>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4" presStyleCnt="5"/>
      <dgm:spPr/>
    </dgm:pt>
    <dgm:pt modelId="{30F9B0FE-22DA-4306-898B-BC984BF06083}" type="pres">
      <dgm:prSet presAssocID="{3B4FE289-DC1F-4580-A05D-E5A3C3B5A975}" presName="text4" presStyleLbl="fgAcc4" presStyleIdx="4" presStyleCnt="5">
        <dgm:presLayoutVars>
          <dgm:chPref val="3"/>
        </dgm:presLayoutVars>
      </dgm:prSet>
      <dgm:spPr/>
    </dgm:pt>
    <dgm:pt modelId="{35457F76-9307-4C19-92C3-2EAF2AC2795E}" type="pres">
      <dgm:prSet presAssocID="{3B4FE289-DC1F-4580-A05D-E5A3C3B5A975}" presName="hierChild5" presStyleCnt="0"/>
      <dgm:spPr/>
    </dgm:pt>
  </dgm:ptLst>
  <dgm:cxnLst>
    <dgm:cxn modelId="{767C3001-4013-4CA7-A1B7-0A9BBDB7A9EE}" type="presOf" srcId="{DFE2E0CF-25DF-452E-940C-C826E1E5A7E4}" destId="{025D225B-8EF8-4F24-9824-8937F4994C4E}" srcOrd="0" destOrd="0" presId="urn:microsoft.com/office/officeart/2005/8/layout/hierarchy1"/>
    <dgm:cxn modelId="{F0807F03-87A1-4C78-8CEE-FADD3CEAF9F9}" type="presOf" srcId="{82EABDED-6B36-4566-849D-F30AD9434719}" destId="{AF10B0D4-B718-4809-AB7D-0D1674A1B519}" srcOrd="0" destOrd="0" presId="urn:microsoft.com/office/officeart/2005/8/layout/hierarchy1"/>
    <dgm:cxn modelId="{A515F003-30E7-421F-B7BF-35943BD4BCE5}" type="presOf" srcId="{DFA7464F-99E4-4E3C-826D-C8B1D9B610C4}" destId="{AE532E12-D5C4-4839-B5E2-6628C543E294}" srcOrd="0" destOrd="0" presId="urn:microsoft.com/office/officeart/2005/8/layout/hierarchy1"/>
    <dgm:cxn modelId="{DEC3E508-B5F9-4B29-ABD7-59A5A6D7BBC1}" type="presOf" srcId="{7027A0A8-3C1A-4E36-B2FD-4AB5D7152420}" destId="{E5FC78B1-B136-4523-8B05-E7CD5EB5A173}" srcOrd="0" destOrd="0" presId="urn:microsoft.com/office/officeart/2005/8/layout/hierarchy1"/>
    <dgm:cxn modelId="{6A227621-EAD0-4A7F-ABFC-A561A1E5AF07}" type="presOf" srcId="{E9A5103B-E74F-4D82-8FBF-3BCD1F54E4AE}" destId="{35A66EFA-B088-4F91-8A26-798452D3EDE1}" srcOrd="0" destOrd="0" presId="urn:microsoft.com/office/officeart/2005/8/layout/hierarchy1"/>
    <dgm:cxn modelId="{A5CC0422-69D6-41CD-8F1A-AF50BE9F8023}" type="presOf" srcId="{D45AFFE4-6D25-45F7-A867-7708D5E37ABF}" destId="{2A401F35-5BA8-40C9-8A27-1D7517552F71}" srcOrd="0" destOrd="0" presId="urn:microsoft.com/office/officeart/2005/8/layout/hierarchy1"/>
    <dgm:cxn modelId="{77787430-98C2-401C-B678-92CDEBD7AE2D}" type="presOf" srcId="{16EB1371-CB5F-4B37-A5E7-BC77FB682E0B}" destId="{FB972832-A969-4A16-B8F4-8CC5C41945FF}" srcOrd="0" destOrd="0" presId="urn:microsoft.com/office/officeart/2005/8/layout/hierarchy1"/>
    <dgm:cxn modelId="{BFBE0E39-384E-46DA-9EF2-4B5360B7E4BF}" srcId="{2D12991A-320A-4A60-A404-1E98DB85D96A}" destId="{E9A5103B-E74F-4D82-8FBF-3BCD1F54E4AE}" srcOrd="0" destOrd="0" parTransId="{34B88F0E-84E4-45E6-8D33-94508F715D6F}" sibTransId="{7FABDA06-C9B9-4AE2-954D-262A10EF30BF}"/>
    <dgm:cxn modelId="{4B331C45-019C-4A4B-80B0-EAA2FB83CE39}" type="presOf" srcId="{A9DD1ED1-CCD1-4221-8FF4-B02673F4CF3F}" destId="{1F04EB27-46F8-4F25-B371-5F09404BEC36}" srcOrd="0" destOrd="0" presId="urn:microsoft.com/office/officeart/2005/8/layout/hierarchy1"/>
    <dgm:cxn modelId="{60284B48-22AF-4546-A2E7-C676F9A4729D}" srcId="{82EABDED-6B36-4566-849D-F30AD9434719}" destId="{DFA7464F-99E4-4E3C-826D-C8B1D9B610C4}" srcOrd="0" destOrd="0" parTransId="{CEFA2B6C-A578-474F-94CE-C1ECE31E2B8C}" sibTransId="{E07FB337-4A47-49AA-AD1E-8132F3D33249}"/>
    <dgm:cxn modelId="{8E4CB04D-9044-4B77-94F6-51BEA3118EED}" type="presOf" srcId="{FFBFBD64-0701-4257-B0C4-B4F84A2FDD93}" destId="{13FD2CDC-EC2A-44DE-BE23-8F4FC93A755C}" srcOrd="0" destOrd="0" presId="urn:microsoft.com/office/officeart/2005/8/layout/hierarchy1"/>
    <dgm:cxn modelId="{6BB0FC7E-D903-4906-A2A7-2C87D657FF7D}" type="presOf" srcId="{3B4FE289-DC1F-4580-A05D-E5A3C3B5A975}" destId="{30F9B0FE-22DA-4306-898B-BC984BF06083}"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0A24759C-E8A9-45D7-A368-691EE1CD90D2}" type="presOf" srcId="{2D12991A-320A-4A60-A404-1E98DB85D96A}" destId="{7B3D3075-FD98-4733-84A3-D20974023ABF}" srcOrd="0" destOrd="0" presId="urn:microsoft.com/office/officeart/2005/8/layout/hierarchy1"/>
    <dgm:cxn modelId="{DFEAFCBE-7F2A-4239-9888-DA563C3DF398}" type="presOf" srcId="{0A0C3F7D-2B79-4774-B735-996F735DF0BB}" destId="{8AB8703C-8903-48B3-A649-B636EA11CD0A}"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C5747BC9-2F6E-41B6-B62A-E2EB1A6707B6}" type="presOf" srcId="{CEFA2B6C-A578-474F-94CE-C1ECE31E2B8C}" destId="{E2B72E87-8736-4021-B702-CA35E50BF41A}" srcOrd="0" destOrd="0" presId="urn:microsoft.com/office/officeart/2005/8/layout/hierarchy1"/>
    <dgm:cxn modelId="{A04B5BD1-7380-4554-B9AB-F48BACEE6EB7}" type="presOf" srcId="{30EE6C8B-AC6B-4F0C-B2AD-D67AF65D1303}" destId="{BF40A65B-85C8-4F81-ADA1-2FC8C412B54F}" srcOrd="0" destOrd="0" presId="urn:microsoft.com/office/officeart/2005/8/layout/hierarchy1"/>
    <dgm:cxn modelId="{CF8B65E1-3EA4-46AD-A923-AAAC4FB885C4}" srcId="{A9DD1ED1-CCD1-4221-8FF4-B02673F4CF3F}" destId="{82EABDED-6B36-4566-849D-F30AD9434719}" srcOrd="0" destOrd="0" parTransId="{D3E36989-F6FF-45E5-91D7-D5C730347C89}" sibTransId="{FA8FB7F2-60D0-4852-86A9-1EC0E4A5210D}"/>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601704F4-D916-4B87-AAD1-EDF5760D67C6}" type="presOf" srcId="{34B88F0E-84E4-45E6-8D33-94508F715D6F}" destId="{8ECC2407-C1A4-43F1-9F51-E19D15692476}" srcOrd="0" destOrd="0" presId="urn:microsoft.com/office/officeart/2005/8/layout/hierarchy1"/>
    <dgm:cxn modelId="{BAB711FB-C30F-4AA6-B8AC-620113775FE4}" srcId="{DFA7464F-99E4-4E3C-826D-C8B1D9B610C4}" destId="{16EB1371-CB5F-4B37-A5E7-BC77FB682E0B}" srcOrd="0" destOrd="0" parTransId="{7027A0A8-3C1A-4E36-B2FD-4AB5D7152420}" sibTransId="{A84DD474-AA8A-4CBB-84E6-8804EA729C0A}"/>
    <dgm:cxn modelId="{4423B4FF-2476-4866-A158-F7259DAD2047}" type="presOf" srcId="{57227B85-4576-4D62-8383-4959597535A2}" destId="{151EB5DF-7D4D-4001-A4D7-5C51FCF76BB3}" srcOrd="0" destOrd="0" presId="urn:microsoft.com/office/officeart/2005/8/layout/hierarchy1"/>
    <dgm:cxn modelId="{6D7A2C9A-F5CB-4B55-B08B-5DD774454BFC}" type="presParOf" srcId="{1F04EB27-46F8-4F25-B371-5F09404BEC36}" destId="{5FD8D13B-3F80-46BD-AC52-854C62DE282A}" srcOrd="0" destOrd="0" presId="urn:microsoft.com/office/officeart/2005/8/layout/hierarchy1"/>
    <dgm:cxn modelId="{9B7DB6DB-A5D5-4540-B0A6-3D34F6FF627F}" type="presParOf" srcId="{5FD8D13B-3F80-46BD-AC52-854C62DE282A}" destId="{5C9031D0-DB42-41A3-88FE-C444DA8650A3}" srcOrd="0" destOrd="0" presId="urn:microsoft.com/office/officeart/2005/8/layout/hierarchy1"/>
    <dgm:cxn modelId="{2A80A3F4-C33D-4B87-A729-223B3868BDA1}" type="presParOf" srcId="{5C9031D0-DB42-41A3-88FE-C444DA8650A3}" destId="{39433600-5AA5-45BD-B035-37FBC5A7FA11}" srcOrd="0" destOrd="0" presId="urn:microsoft.com/office/officeart/2005/8/layout/hierarchy1"/>
    <dgm:cxn modelId="{3A30B91D-6377-41D0-912D-D690C8CC1427}" type="presParOf" srcId="{5C9031D0-DB42-41A3-88FE-C444DA8650A3}" destId="{AF10B0D4-B718-4809-AB7D-0D1674A1B519}" srcOrd="1" destOrd="0" presId="urn:microsoft.com/office/officeart/2005/8/layout/hierarchy1"/>
    <dgm:cxn modelId="{027130F9-5410-44AB-9F67-F04EA715E032}" type="presParOf" srcId="{5FD8D13B-3F80-46BD-AC52-854C62DE282A}" destId="{BACA96CD-8DC0-4B41-9411-BA402895DCE3}" srcOrd="1" destOrd="0" presId="urn:microsoft.com/office/officeart/2005/8/layout/hierarchy1"/>
    <dgm:cxn modelId="{8F9254E4-8BCC-4369-8CD3-4F011A9A479A}" type="presParOf" srcId="{BACA96CD-8DC0-4B41-9411-BA402895DCE3}" destId="{E2B72E87-8736-4021-B702-CA35E50BF41A}" srcOrd="0" destOrd="0" presId="urn:microsoft.com/office/officeart/2005/8/layout/hierarchy1"/>
    <dgm:cxn modelId="{1BA11685-D074-477A-B44D-D44A4CE8723C}" type="presParOf" srcId="{BACA96CD-8DC0-4B41-9411-BA402895DCE3}" destId="{48D18FC6-92C6-4990-8B3C-05C7B6D9090F}" srcOrd="1" destOrd="0" presId="urn:microsoft.com/office/officeart/2005/8/layout/hierarchy1"/>
    <dgm:cxn modelId="{7614953E-BA0F-472D-BCAA-47AD1342EBE8}" type="presParOf" srcId="{48D18FC6-92C6-4990-8B3C-05C7B6D9090F}" destId="{BF94E8BD-0C1D-457E-AE98-114A8143A785}" srcOrd="0" destOrd="0" presId="urn:microsoft.com/office/officeart/2005/8/layout/hierarchy1"/>
    <dgm:cxn modelId="{996584E9-5D1B-4DE9-B24B-BD76AD6331C3}" type="presParOf" srcId="{BF94E8BD-0C1D-457E-AE98-114A8143A785}" destId="{B551797E-BF9B-433E-8A29-FDBD5420392C}" srcOrd="0" destOrd="0" presId="urn:microsoft.com/office/officeart/2005/8/layout/hierarchy1"/>
    <dgm:cxn modelId="{92A48C63-4665-483C-9F29-C9DA80B53CED}" type="presParOf" srcId="{BF94E8BD-0C1D-457E-AE98-114A8143A785}" destId="{AE532E12-D5C4-4839-B5E2-6628C543E294}" srcOrd="1" destOrd="0" presId="urn:microsoft.com/office/officeart/2005/8/layout/hierarchy1"/>
    <dgm:cxn modelId="{5842A759-4FC0-4B85-9D79-396F7CC1148A}" type="presParOf" srcId="{48D18FC6-92C6-4990-8B3C-05C7B6D9090F}" destId="{25838505-E62B-4F4B-A546-87639D3B4CFB}" srcOrd="1" destOrd="0" presId="urn:microsoft.com/office/officeart/2005/8/layout/hierarchy1"/>
    <dgm:cxn modelId="{65A759B4-5F88-4592-AAE3-6ED811952A5B}" type="presParOf" srcId="{25838505-E62B-4F4B-A546-87639D3B4CFB}" destId="{E5FC78B1-B136-4523-8B05-E7CD5EB5A173}" srcOrd="0" destOrd="0" presId="urn:microsoft.com/office/officeart/2005/8/layout/hierarchy1"/>
    <dgm:cxn modelId="{3F394FB8-D926-4FEE-9A24-9117E17CB9ED}" type="presParOf" srcId="{25838505-E62B-4F4B-A546-87639D3B4CFB}" destId="{F3A47605-9CCD-4F23-AA7E-B3024DF3EC23}" srcOrd="1" destOrd="0" presId="urn:microsoft.com/office/officeart/2005/8/layout/hierarchy1"/>
    <dgm:cxn modelId="{03558B59-5D55-433F-B435-FEFC7AD09FE4}" type="presParOf" srcId="{F3A47605-9CCD-4F23-AA7E-B3024DF3EC23}" destId="{BB37B999-87ED-48ED-BBA3-70CCCBEEF357}" srcOrd="0" destOrd="0" presId="urn:microsoft.com/office/officeart/2005/8/layout/hierarchy1"/>
    <dgm:cxn modelId="{3AE1BAB6-40B4-4953-9A54-69C6B0410B67}" type="presParOf" srcId="{BB37B999-87ED-48ED-BBA3-70CCCBEEF357}" destId="{30562E8C-C669-4BBD-A83C-425FF1FB8E24}" srcOrd="0" destOrd="0" presId="urn:microsoft.com/office/officeart/2005/8/layout/hierarchy1"/>
    <dgm:cxn modelId="{2FBEA5D7-73DE-472D-B51E-D754622E82B5}" type="presParOf" srcId="{BB37B999-87ED-48ED-BBA3-70CCCBEEF357}" destId="{FB972832-A969-4A16-B8F4-8CC5C41945FF}" srcOrd="1" destOrd="0" presId="urn:microsoft.com/office/officeart/2005/8/layout/hierarchy1"/>
    <dgm:cxn modelId="{46639326-9AF3-4EC7-A5D8-A15B032A3C87}" type="presParOf" srcId="{F3A47605-9CCD-4F23-AA7E-B3024DF3EC23}" destId="{BDD33F69-063F-4EC0-A6C4-0AC13C770F74}" srcOrd="1" destOrd="0" presId="urn:microsoft.com/office/officeart/2005/8/layout/hierarchy1"/>
    <dgm:cxn modelId="{6AC4EE3C-3FC7-495C-A830-CF2AB9B39DF8}" type="presParOf" srcId="{BDD33F69-063F-4EC0-A6C4-0AC13C770F74}" destId="{13FD2CDC-EC2A-44DE-BE23-8F4FC93A755C}" srcOrd="0" destOrd="0" presId="urn:microsoft.com/office/officeart/2005/8/layout/hierarchy1"/>
    <dgm:cxn modelId="{8CC5E82E-F58F-4DFD-BC87-F8471A938F5A}" type="presParOf" srcId="{BDD33F69-063F-4EC0-A6C4-0AC13C770F74}" destId="{28903026-1139-458A-A10E-7EE71804A286}" srcOrd="1" destOrd="0" presId="urn:microsoft.com/office/officeart/2005/8/layout/hierarchy1"/>
    <dgm:cxn modelId="{3F58B438-F01B-487C-BCEA-1A14B39304B6}" type="presParOf" srcId="{28903026-1139-458A-A10E-7EE71804A286}" destId="{9C687982-98BA-4024-8FFB-60009E74F700}" srcOrd="0" destOrd="0" presId="urn:microsoft.com/office/officeart/2005/8/layout/hierarchy1"/>
    <dgm:cxn modelId="{493EBBE3-6CF2-4824-B586-DE03D23D0864}" type="presParOf" srcId="{9C687982-98BA-4024-8FFB-60009E74F700}" destId="{DF19532D-1CDE-40E8-B84A-E45153A9E1E1}" srcOrd="0" destOrd="0" presId="urn:microsoft.com/office/officeart/2005/8/layout/hierarchy1"/>
    <dgm:cxn modelId="{85390861-DD7A-46E1-A825-920C730ABB1C}" type="presParOf" srcId="{9C687982-98BA-4024-8FFB-60009E74F700}" destId="{7B3D3075-FD98-4733-84A3-D20974023ABF}" srcOrd="1" destOrd="0" presId="urn:microsoft.com/office/officeart/2005/8/layout/hierarchy1"/>
    <dgm:cxn modelId="{392080CC-58A8-4F07-839C-E8B43BEC6F6C}" type="presParOf" srcId="{28903026-1139-458A-A10E-7EE71804A286}" destId="{ABEE6836-8065-409B-9612-444454B93E10}" srcOrd="1" destOrd="0" presId="urn:microsoft.com/office/officeart/2005/8/layout/hierarchy1"/>
    <dgm:cxn modelId="{AE2B98FF-72AF-48F5-ADDF-7DE44A974A48}" type="presParOf" srcId="{ABEE6836-8065-409B-9612-444454B93E10}" destId="{8ECC2407-C1A4-43F1-9F51-E19D15692476}" srcOrd="0" destOrd="0" presId="urn:microsoft.com/office/officeart/2005/8/layout/hierarchy1"/>
    <dgm:cxn modelId="{14CFA06D-C517-46BF-A18F-F23A8F056F30}" type="presParOf" srcId="{ABEE6836-8065-409B-9612-444454B93E10}" destId="{6762415A-907C-4D01-8020-48FAD8BEE22C}" srcOrd="1" destOrd="0" presId="urn:microsoft.com/office/officeart/2005/8/layout/hierarchy1"/>
    <dgm:cxn modelId="{ED3C5167-5F79-4137-8C80-7D687E4900F2}" type="presParOf" srcId="{6762415A-907C-4D01-8020-48FAD8BEE22C}" destId="{F717675C-83C8-4FC9-A133-9D2ED93B8725}" srcOrd="0" destOrd="0" presId="urn:microsoft.com/office/officeart/2005/8/layout/hierarchy1"/>
    <dgm:cxn modelId="{BD7DDBA2-9B5E-4BD6-A638-115D13F6C1ED}" type="presParOf" srcId="{F717675C-83C8-4FC9-A133-9D2ED93B8725}" destId="{C3249CB6-A2DA-4679-AB98-2FA767D04C06}" srcOrd="0" destOrd="0" presId="urn:microsoft.com/office/officeart/2005/8/layout/hierarchy1"/>
    <dgm:cxn modelId="{4214A611-8C97-4FF3-9EA6-FD5764690A33}" type="presParOf" srcId="{F717675C-83C8-4FC9-A133-9D2ED93B8725}" destId="{35A66EFA-B088-4F91-8A26-798452D3EDE1}" srcOrd="1" destOrd="0" presId="urn:microsoft.com/office/officeart/2005/8/layout/hierarchy1"/>
    <dgm:cxn modelId="{B0E32640-41AC-4195-8220-3EAF065A05A5}" type="presParOf" srcId="{6762415A-907C-4D01-8020-48FAD8BEE22C}" destId="{FA813555-8835-4B9A-B895-4B9AA3B3D456}" srcOrd="1" destOrd="0" presId="urn:microsoft.com/office/officeart/2005/8/layout/hierarchy1"/>
    <dgm:cxn modelId="{4A44F908-28EC-4C8F-89DF-FE3042BC7F08}" type="presParOf" srcId="{BDD33F69-063F-4EC0-A6C4-0AC13C770F74}" destId="{BF40A65B-85C8-4F81-ADA1-2FC8C412B54F}" srcOrd="2" destOrd="0" presId="urn:microsoft.com/office/officeart/2005/8/layout/hierarchy1"/>
    <dgm:cxn modelId="{1C9B2691-ABE5-4335-A3EA-BD68503C8A5F}" type="presParOf" srcId="{BDD33F69-063F-4EC0-A6C4-0AC13C770F74}" destId="{FC0AD87E-497F-4066-85F7-6C9CFB15C5E7}" srcOrd="3" destOrd="0" presId="urn:microsoft.com/office/officeart/2005/8/layout/hierarchy1"/>
    <dgm:cxn modelId="{B3C94B80-C159-434A-82D1-316F8D577C24}" type="presParOf" srcId="{FC0AD87E-497F-4066-85F7-6C9CFB15C5E7}" destId="{691296AC-BF10-497B-BBCC-DD727FF85D1D}" srcOrd="0" destOrd="0" presId="urn:microsoft.com/office/officeart/2005/8/layout/hierarchy1"/>
    <dgm:cxn modelId="{7339AB9F-2AF8-4939-AEF5-C96FD42A4F53}" type="presParOf" srcId="{691296AC-BF10-497B-BBCC-DD727FF85D1D}" destId="{F400DC93-A1C9-4293-9404-80D675E4811F}" srcOrd="0" destOrd="0" presId="urn:microsoft.com/office/officeart/2005/8/layout/hierarchy1"/>
    <dgm:cxn modelId="{20263160-463C-4F07-B25A-3BCAEBB664AC}" type="presParOf" srcId="{691296AC-BF10-497B-BBCC-DD727FF85D1D}" destId="{151EB5DF-7D4D-4001-A4D7-5C51FCF76BB3}" srcOrd="1" destOrd="0" presId="urn:microsoft.com/office/officeart/2005/8/layout/hierarchy1"/>
    <dgm:cxn modelId="{7BDA6ADF-22F3-4174-B9F2-038AF8322E17}" type="presParOf" srcId="{FC0AD87E-497F-4066-85F7-6C9CFB15C5E7}" destId="{8C647340-87B1-458C-88E0-70313359341F}" srcOrd="1" destOrd="0" presId="urn:microsoft.com/office/officeart/2005/8/layout/hierarchy1"/>
    <dgm:cxn modelId="{AA893D40-E4FD-4F19-BB29-01A60B526B8E}" type="presParOf" srcId="{8C647340-87B1-458C-88E0-70313359341F}" destId="{8AB8703C-8903-48B3-A649-B636EA11CD0A}" srcOrd="0" destOrd="0" presId="urn:microsoft.com/office/officeart/2005/8/layout/hierarchy1"/>
    <dgm:cxn modelId="{077EAF37-9DA4-40EB-BC12-2E288212BD1C}" type="presParOf" srcId="{8C647340-87B1-458C-88E0-70313359341F}" destId="{72175A08-DB5C-420F-9937-D730508D368C}" srcOrd="1" destOrd="0" presId="urn:microsoft.com/office/officeart/2005/8/layout/hierarchy1"/>
    <dgm:cxn modelId="{1D0C213F-6E0C-4F69-A98A-C2EBBC8A351D}" type="presParOf" srcId="{72175A08-DB5C-420F-9937-D730508D368C}" destId="{83040742-B942-4C5E-A509-006C254394D0}" srcOrd="0" destOrd="0" presId="urn:microsoft.com/office/officeart/2005/8/layout/hierarchy1"/>
    <dgm:cxn modelId="{AFA0ADA8-D39D-4CC0-825A-AFB595019CCB}" type="presParOf" srcId="{83040742-B942-4C5E-A509-006C254394D0}" destId="{0DD23B8F-CD52-4EF0-A25C-7F75674A7FE8}" srcOrd="0" destOrd="0" presId="urn:microsoft.com/office/officeart/2005/8/layout/hierarchy1"/>
    <dgm:cxn modelId="{3039BE8B-721E-4212-A230-F24E0BFD2C6C}" type="presParOf" srcId="{83040742-B942-4C5E-A509-006C254394D0}" destId="{2A401F35-5BA8-40C9-8A27-1D7517552F71}" srcOrd="1" destOrd="0" presId="urn:microsoft.com/office/officeart/2005/8/layout/hierarchy1"/>
    <dgm:cxn modelId="{55FD1212-E869-4E0B-BFD4-8D6753EFB402}" type="presParOf" srcId="{72175A08-DB5C-420F-9937-D730508D368C}" destId="{2C46E292-FC11-41B1-B734-623934279E57}" srcOrd="1" destOrd="0" presId="urn:microsoft.com/office/officeart/2005/8/layout/hierarchy1"/>
    <dgm:cxn modelId="{8E5B6E6A-8ED1-4B00-9CD5-374107FCB587}" type="presParOf" srcId="{8C647340-87B1-458C-88E0-70313359341F}" destId="{025D225B-8EF8-4F24-9824-8937F4994C4E}" srcOrd="2" destOrd="0" presId="urn:microsoft.com/office/officeart/2005/8/layout/hierarchy1"/>
    <dgm:cxn modelId="{2CA16EAA-BFEF-4203-AA56-C2B2C86AEDF5}" type="presParOf" srcId="{8C647340-87B1-458C-88E0-70313359341F}" destId="{E977D147-8368-44D6-B492-908A0CE65CBE}" srcOrd="3" destOrd="0" presId="urn:microsoft.com/office/officeart/2005/8/layout/hierarchy1"/>
    <dgm:cxn modelId="{78FE4D72-23A4-4A18-B984-AA001057DE3A}" type="presParOf" srcId="{E977D147-8368-44D6-B492-908A0CE65CBE}" destId="{7B205D52-696D-4C3F-B22A-BBAD0041F8F5}" srcOrd="0" destOrd="0" presId="urn:microsoft.com/office/officeart/2005/8/layout/hierarchy1"/>
    <dgm:cxn modelId="{600E3320-7FFE-4D19-9432-62B723379677}" type="presParOf" srcId="{7B205D52-696D-4C3F-B22A-BBAD0041F8F5}" destId="{0F7B726A-4ECE-4EFF-AEBF-2F6DD563957E}" srcOrd="0" destOrd="0" presId="urn:microsoft.com/office/officeart/2005/8/layout/hierarchy1"/>
    <dgm:cxn modelId="{9E7618DF-3361-4EB9-9BDB-6367C184DA49}" type="presParOf" srcId="{7B205D52-696D-4C3F-B22A-BBAD0041F8F5}" destId="{30F9B0FE-22DA-4306-898B-BC984BF06083}" srcOrd="1" destOrd="0" presId="urn:microsoft.com/office/officeart/2005/8/layout/hierarchy1"/>
    <dgm:cxn modelId="{39281B6B-6275-44AC-8906-34BA21BD53C6}" type="presParOf" srcId="{E977D147-8368-44D6-B492-908A0CE65CBE}" destId="{35457F76-9307-4C19-92C3-2EAF2AC2795E}" srcOrd="1" destOrd="0" presId="urn:microsoft.com/office/officeart/2005/8/layout/hierarchy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3236800" y="4160902"/>
          <a:ext cx="745089" cy="354594"/>
        </a:xfrm>
        <a:custGeom>
          <a:avLst/>
          <a:gdLst/>
          <a:ahLst/>
          <a:cxnLst/>
          <a:rect l="0" t="0" r="0" b="0"/>
          <a:pathLst>
            <a:path>
              <a:moveTo>
                <a:pt x="0" y="0"/>
              </a:moveTo>
              <a:lnTo>
                <a:pt x="0" y="241645"/>
              </a:lnTo>
              <a:lnTo>
                <a:pt x="745089" y="241645"/>
              </a:lnTo>
              <a:lnTo>
                <a:pt x="745089"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491711" y="4160902"/>
          <a:ext cx="745089" cy="354594"/>
        </a:xfrm>
        <a:custGeom>
          <a:avLst/>
          <a:gdLst/>
          <a:ahLst/>
          <a:cxnLst/>
          <a:rect l="0" t="0" r="0" b="0"/>
          <a:pathLst>
            <a:path>
              <a:moveTo>
                <a:pt x="745089" y="0"/>
              </a:moveTo>
              <a:lnTo>
                <a:pt x="745089"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40A65B-85C8-4F81-ADA1-2FC8C412B54F}">
      <dsp:nvSpPr>
        <dsp:cNvPr id="0" name=""/>
        <dsp:cNvSpPr/>
      </dsp:nvSpPr>
      <dsp:spPr>
        <a:xfrm>
          <a:off x="2119167" y="3032092"/>
          <a:ext cx="1117633" cy="354594"/>
        </a:xfrm>
        <a:custGeom>
          <a:avLst/>
          <a:gdLst/>
          <a:ahLst/>
          <a:cxnLst/>
          <a:rect l="0" t="0" r="0" b="0"/>
          <a:pathLst>
            <a:path>
              <a:moveTo>
                <a:pt x="0" y="0"/>
              </a:moveTo>
              <a:lnTo>
                <a:pt x="0" y="241645"/>
              </a:lnTo>
              <a:lnTo>
                <a:pt x="1117633" y="241645"/>
              </a:lnTo>
              <a:lnTo>
                <a:pt x="1117633"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87EBA4-53B5-45A3-9616-00965275575E}">
      <dsp:nvSpPr>
        <dsp:cNvPr id="0" name=""/>
        <dsp:cNvSpPr/>
      </dsp:nvSpPr>
      <dsp:spPr>
        <a:xfrm>
          <a:off x="955813" y="416090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D2CDC-EC2A-44DE-BE23-8F4FC93A755C}">
      <dsp:nvSpPr>
        <dsp:cNvPr id="0" name=""/>
        <dsp:cNvSpPr/>
      </dsp:nvSpPr>
      <dsp:spPr>
        <a:xfrm>
          <a:off x="1001533" y="3032092"/>
          <a:ext cx="1117633" cy="354594"/>
        </a:xfrm>
        <a:custGeom>
          <a:avLst/>
          <a:gdLst/>
          <a:ahLst/>
          <a:cxnLst/>
          <a:rect l="0" t="0" r="0" b="0"/>
          <a:pathLst>
            <a:path>
              <a:moveTo>
                <a:pt x="1117633" y="0"/>
              </a:moveTo>
              <a:lnTo>
                <a:pt x="1117633"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FC78B1-B136-4523-8B05-E7CD5EB5A173}">
      <dsp:nvSpPr>
        <dsp:cNvPr id="0" name=""/>
        <dsp:cNvSpPr/>
      </dsp:nvSpPr>
      <dsp:spPr>
        <a:xfrm>
          <a:off x="2073447" y="190328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72E87-8736-4021-B702-CA35E50BF41A}">
      <dsp:nvSpPr>
        <dsp:cNvPr id="0" name=""/>
        <dsp:cNvSpPr/>
      </dsp:nvSpPr>
      <dsp:spPr>
        <a:xfrm>
          <a:off x="2073447" y="774472"/>
          <a:ext cx="91440" cy="354594"/>
        </a:xfrm>
        <a:custGeom>
          <a:avLst/>
          <a:gdLst/>
          <a:ahLst/>
          <a:cxnLst/>
          <a:rect l="0" t="0" r="0" b="0"/>
          <a:pathLst>
            <a:path>
              <a:moveTo>
                <a:pt x="45720" y="0"/>
              </a:moveTo>
              <a:lnTo>
                <a:pt x="45720" y="35459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433600-5AA5-45BD-B035-37FBC5A7FA11}">
      <dsp:nvSpPr>
        <dsp:cNvPr id="0" name=""/>
        <dsp:cNvSpPr/>
      </dsp:nvSpPr>
      <dsp:spPr>
        <a:xfrm>
          <a:off x="1509548" y="25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F10B0D4-B718-4809-AB7D-0D1674A1B519}">
      <dsp:nvSpPr>
        <dsp:cNvPr id="0" name=""/>
        <dsp:cNvSpPr/>
      </dsp:nvSpPr>
      <dsp:spPr>
        <a:xfrm>
          <a:off x="1645019" y="12895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err="1"/>
            <a:t>TenantGroup</a:t>
          </a:r>
          <a:endParaRPr lang="en-US" sz="1200" kern="1200" dirty="0"/>
        </a:p>
      </dsp:txBody>
      <dsp:txXfrm>
        <a:off x="1667695" y="151630"/>
        <a:ext cx="1173884" cy="728863"/>
      </dsp:txXfrm>
    </dsp:sp>
    <dsp:sp modelId="{B551797E-BF9B-433E-8A29-FDBD5420392C}">
      <dsp:nvSpPr>
        <dsp:cNvPr id="0" name=""/>
        <dsp:cNvSpPr/>
      </dsp:nvSpPr>
      <dsp:spPr>
        <a:xfrm>
          <a:off x="1509548" y="112906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E532E12-D5C4-4839-B5E2-6628C543E294}">
      <dsp:nvSpPr>
        <dsp:cNvPr id="0" name=""/>
        <dsp:cNvSpPr/>
      </dsp:nvSpPr>
      <dsp:spPr>
        <a:xfrm>
          <a:off x="1645019" y="125776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Tenant</a:t>
          </a:r>
        </a:p>
      </dsp:txBody>
      <dsp:txXfrm>
        <a:off x="1667695" y="1280440"/>
        <a:ext cx="1173884" cy="728863"/>
      </dsp:txXfrm>
    </dsp:sp>
    <dsp:sp modelId="{30562E8C-C669-4BBD-A83C-425FF1FB8E24}">
      <dsp:nvSpPr>
        <dsp:cNvPr id="0" name=""/>
        <dsp:cNvSpPr/>
      </dsp:nvSpPr>
      <dsp:spPr>
        <a:xfrm>
          <a:off x="1509548" y="225787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FB972832-A969-4A16-B8F4-8CC5C41945FF}">
      <dsp:nvSpPr>
        <dsp:cNvPr id="0" name=""/>
        <dsp:cNvSpPr/>
      </dsp:nvSpPr>
      <dsp:spPr>
        <a:xfrm>
          <a:off x="1645019" y="238657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HostPool</a:t>
          </a:r>
          <a:endParaRPr lang="en-US" sz="1200" kern="1200"/>
        </a:p>
      </dsp:txBody>
      <dsp:txXfrm>
        <a:off x="1667695" y="2409250"/>
        <a:ext cx="1173884" cy="728863"/>
      </dsp:txXfrm>
    </dsp:sp>
    <dsp:sp modelId="{DF19532D-1CDE-40E8-B84A-E45153A9E1E1}">
      <dsp:nvSpPr>
        <dsp:cNvPr id="0" name=""/>
        <dsp:cNvSpPr/>
      </dsp:nvSpPr>
      <dsp:spPr>
        <a:xfrm>
          <a:off x="391915"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7B3D3075-FD98-4733-84A3-D20974023ABF}">
      <dsp:nvSpPr>
        <dsp:cNvPr id="0" name=""/>
        <dsp:cNvSpPr/>
      </dsp:nvSpPr>
      <dsp:spPr>
        <a:xfrm>
          <a:off x="527386"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ssionHost*</a:t>
          </a:r>
        </a:p>
      </dsp:txBody>
      <dsp:txXfrm>
        <a:off x="550062" y="3538060"/>
        <a:ext cx="1173884" cy="728863"/>
      </dsp:txXfrm>
    </dsp:sp>
    <dsp:sp modelId="{C28FA78F-C4F0-4202-A6B4-53013E80DF2E}">
      <dsp:nvSpPr>
        <dsp:cNvPr id="0" name=""/>
        <dsp:cNvSpPr/>
      </dsp:nvSpPr>
      <dsp:spPr>
        <a:xfrm>
          <a:off x="391915"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42766ECE-895C-43FE-9019-D805D5522D0F}">
      <dsp:nvSpPr>
        <dsp:cNvPr id="0" name=""/>
        <dsp:cNvSpPr/>
      </dsp:nvSpPr>
      <dsp:spPr>
        <a:xfrm>
          <a:off x="527386"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UserSession</a:t>
          </a:r>
          <a:r>
            <a:rPr lang="en-US" sz="1200" kern="1200"/>
            <a:t>*</a:t>
          </a:r>
        </a:p>
      </dsp:txBody>
      <dsp:txXfrm>
        <a:off x="550062" y="4666870"/>
        <a:ext cx="1173884" cy="728863"/>
      </dsp:txXfrm>
    </dsp:sp>
    <dsp:sp modelId="{F400DC93-A1C9-4293-9404-80D675E4811F}">
      <dsp:nvSpPr>
        <dsp:cNvPr id="0" name=""/>
        <dsp:cNvSpPr/>
      </dsp:nvSpPr>
      <dsp:spPr>
        <a:xfrm>
          <a:off x="2627182"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151EB5DF-7D4D-4001-A4D7-5C51FCF76BB3}">
      <dsp:nvSpPr>
        <dsp:cNvPr id="0" name=""/>
        <dsp:cNvSpPr/>
      </dsp:nvSpPr>
      <dsp:spPr>
        <a:xfrm>
          <a:off x="2762653"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AppGroup</a:t>
          </a:r>
          <a:endParaRPr lang="en-US" sz="1200" kern="1200"/>
        </a:p>
      </dsp:txBody>
      <dsp:txXfrm>
        <a:off x="2785329" y="3538060"/>
        <a:ext cx="1173884" cy="728863"/>
      </dsp:txXfrm>
    </dsp:sp>
    <dsp:sp modelId="{0DD23B8F-CD52-4EF0-A25C-7F75674A7FE8}">
      <dsp:nvSpPr>
        <dsp:cNvPr id="0" name=""/>
        <dsp:cNvSpPr/>
      </dsp:nvSpPr>
      <dsp:spPr>
        <a:xfrm>
          <a:off x="1882093"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2017564"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pp</a:t>
          </a:r>
        </a:p>
      </dsp:txBody>
      <dsp:txXfrm>
        <a:off x="2040240" y="4666870"/>
        <a:ext cx="1173884" cy="728863"/>
      </dsp:txXfrm>
    </dsp:sp>
    <dsp:sp modelId="{0F7B726A-4ECE-4EFF-AEBF-2F6DD563957E}">
      <dsp:nvSpPr>
        <dsp:cNvPr id="0" name=""/>
        <dsp:cNvSpPr/>
      </dsp:nvSpPr>
      <dsp:spPr>
        <a:xfrm>
          <a:off x="3372271"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507742"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mote</a:t>
          </a:r>
          <a:br>
            <a:rPr lang="en-US" sz="1200" kern="1200"/>
          </a:br>
          <a:r>
            <a:rPr lang="en-US" sz="1200" kern="1200"/>
            <a:t>Desktop*</a:t>
          </a:r>
          <a:endParaRPr lang="en-US" sz="1200" kern="1200" dirty="0"/>
        </a:p>
      </dsp:txBody>
      <dsp:txXfrm>
        <a:off x="3530418" y="4666870"/>
        <a:ext cx="1173884" cy="728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3016358" y="4190002"/>
          <a:ext cx="749871" cy="356870"/>
        </a:xfrm>
        <a:custGeom>
          <a:avLst/>
          <a:gdLst/>
          <a:ahLst/>
          <a:cxnLst/>
          <a:rect l="0" t="0" r="0" b="0"/>
          <a:pathLst>
            <a:path>
              <a:moveTo>
                <a:pt x="0" y="0"/>
              </a:moveTo>
              <a:lnTo>
                <a:pt x="0" y="243197"/>
              </a:lnTo>
              <a:lnTo>
                <a:pt x="749871" y="243197"/>
              </a:lnTo>
              <a:lnTo>
                <a:pt x="749871"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266486" y="4190002"/>
          <a:ext cx="749871" cy="356870"/>
        </a:xfrm>
        <a:custGeom>
          <a:avLst/>
          <a:gdLst/>
          <a:ahLst/>
          <a:cxnLst/>
          <a:rect l="0" t="0" r="0" b="0"/>
          <a:pathLst>
            <a:path>
              <a:moveTo>
                <a:pt x="749871" y="0"/>
              </a:moveTo>
              <a:lnTo>
                <a:pt x="749871" y="243197"/>
              </a:lnTo>
              <a:lnTo>
                <a:pt x="0" y="243197"/>
              </a:lnTo>
              <a:lnTo>
                <a:pt x="0"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40A65B-85C8-4F81-ADA1-2FC8C412B54F}">
      <dsp:nvSpPr>
        <dsp:cNvPr id="0" name=""/>
        <dsp:cNvSpPr/>
      </dsp:nvSpPr>
      <dsp:spPr>
        <a:xfrm>
          <a:off x="1891550" y="3053946"/>
          <a:ext cx="1124807" cy="356870"/>
        </a:xfrm>
        <a:custGeom>
          <a:avLst/>
          <a:gdLst/>
          <a:ahLst/>
          <a:cxnLst/>
          <a:rect l="0" t="0" r="0" b="0"/>
          <a:pathLst>
            <a:path>
              <a:moveTo>
                <a:pt x="0" y="0"/>
              </a:moveTo>
              <a:lnTo>
                <a:pt x="0" y="243197"/>
              </a:lnTo>
              <a:lnTo>
                <a:pt x="1124807" y="243197"/>
              </a:lnTo>
              <a:lnTo>
                <a:pt x="1124807"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CC2407-C1A4-43F1-9F51-E19D15692476}">
      <dsp:nvSpPr>
        <dsp:cNvPr id="0" name=""/>
        <dsp:cNvSpPr/>
      </dsp:nvSpPr>
      <dsp:spPr>
        <a:xfrm>
          <a:off x="721023" y="4190002"/>
          <a:ext cx="91440" cy="356870"/>
        </a:xfrm>
        <a:custGeom>
          <a:avLst/>
          <a:gdLst/>
          <a:ahLst/>
          <a:cxnLst/>
          <a:rect l="0" t="0" r="0" b="0"/>
          <a:pathLst>
            <a:path>
              <a:moveTo>
                <a:pt x="45720" y="0"/>
              </a:moveTo>
              <a:lnTo>
                <a:pt x="45720"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D2CDC-EC2A-44DE-BE23-8F4FC93A755C}">
      <dsp:nvSpPr>
        <dsp:cNvPr id="0" name=""/>
        <dsp:cNvSpPr/>
      </dsp:nvSpPr>
      <dsp:spPr>
        <a:xfrm>
          <a:off x="766743" y="3053946"/>
          <a:ext cx="1124807" cy="356870"/>
        </a:xfrm>
        <a:custGeom>
          <a:avLst/>
          <a:gdLst/>
          <a:ahLst/>
          <a:cxnLst/>
          <a:rect l="0" t="0" r="0" b="0"/>
          <a:pathLst>
            <a:path>
              <a:moveTo>
                <a:pt x="1124807" y="0"/>
              </a:moveTo>
              <a:lnTo>
                <a:pt x="1124807" y="243197"/>
              </a:lnTo>
              <a:lnTo>
                <a:pt x="0" y="243197"/>
              </a:lnTo>
              <a:lnTo>
                <a:pt x="0"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FC78B1-B136-4523-8B05-E7CD5EB5A173}">
      <dsp:nvSpPr>
        <dsp:cNvPr id="0" name=""/>
        <dsp:cNvSpPr/>
      </dsp:nvSpPr>
      <dsp:spPr>
        <a:xfrm>
          <a:off x="1845830" y="1917890"/>
          <a:ext cx="91440" cy="356870"/>
        </a:xfrm>
        <a:custGeom>
          <a:avLst/>
          <a:gdLst/>
          <a:ahLst/>
          <a:cxnLst/>
          <a:rect l="0" t="0" r="0" b="0"/>
          <a:pathLst>
            <a:path>
              <a:moveTo>
                <a:pt x="45720" y="0"/>
              </a:moveTo>
              <a:lnTo>
                <a:pt x="45720" y="356870"/>
              </a:lnTo>
            </a:path>
          </a:pathLst>
        </a:custGeom>
        <a:noFill/>
        <a:ln w="10795"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72E87-8736-4021-B702-CA35E50BF41A}">
      <dsp:nvSpPr>
        <dsp:cNvPr id="0" name=""/>
        <dsp:cNvSpPr/>
      </dsp:nvSpPr>
      <dsp:spPr>
        <a:xfrm>
          <a:off x="1842873" y="818612"/>
          <a:ext cx="91440" cy="320093"/>
        </a:xfrm>
        <a:custGeom>
          <a:avLst/>
          <a:gdLst/>
          <a:ahLst/>
          <a:cxnLst/>
          <a:rect l="0" t="0" r="0" b="0"/>
          <a:pathLst>
            <a:path>
              <a:moveTo>
                <a:pt x="45720" y="0"/>
              </a:moveTo>
              <a:lnTo>
                <a:pt x="45720" y="206419"/>
              </a:lnTo>
              <a:lnTo>
                <a:pt x="48677" y="206419"/>
              </a:lnTo>
              <a:lnTo>
                <a:pt x="48677" y="320093"/>
              </a:lnTo>
            </a:path>
          </a:pathLst>
        </a:cu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433600-5AA5-45BD-B035-37FBC5A7FA11}">
      <dsp:nvSpPr>
        <dsp:cNvPr id="0" name=""/>
        <dsp:cNvSpPr/>
      </dsp:nvSpPr>
      <dsp:spPr>
        <a:xfrm>
          <a:off x="1275062" y="39427"/>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F10B0D4-B718-4809-AB7D-0D1674A1B519}">
      <dsp:nvSpPr>
        <dsp:cNvPr id="0" name=""/>
        <dsp:cNvSpPr/>
      </dsp:nvSpPr>
      <dsp:spPr>
        <a:xfrm>
          <a:off x="1411402" y="168950"/>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Enterprise or partner</a:t>
          </a:r>
        </a:p>
      </dsp:txBody>
      <dsp:txXfrm>
        <a:off x="1434224" y="191772"/>
        <a:ext cx="1181418" cy="733540"/>
      </dsp:txXfrm>
    </dsp:sp>
    <dsp:sp modelId="{B551797E-BF9B-433E-8A29-FDBD5420392C}">
      <dsp:nvSpPr>
        <dsp:cNvPr id="0" name=""/>
        <dsp:cNvSpPr/>
      </dsp:nvSpPr>
      <dsp:spPr>
        <a:xfrm>
          <a:off x="1278019" y="1138705"/>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E532E12-D5C4-4839-B5E2-6628C543E294}">
      <dsp:nvSpPr>
        <dsp:cNvPr id="0" name=""/>
        <dsp:cNvSpPr/>
      </dsp:nvSpPr>
      <dsp:spPr>
        <a:xfrm>
          <a:off x="1414359" y="1268228"/>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zure AD tenant</a:t>
          </a:r>
        </a:p>
      </dsp:txBody>
      <dsp:txXfrm>
        <a:off x="1437181" y="1291050"/>
        <a:ext cx="1181418" cy="733540"/>
      </dsp:txXfrm>
    </dsp:sp>
    <dsp:sp modelId="{30562E8C-C669-4BBD-A83C-425FF1FB8E24}">
      <dsp:nvSpPr>
        <dsp:cNvPr id="0" name=""/>
        <dsp:cNvSpPr/>
      </dsp:nvSpPr>
      <dsp:spPr>
        <a:xfrm>
          <a:off x="1278019" y="2274761"/>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FB972832-A969-4A16-B8F4-8CC5C41945FF}">
      <dsp:nvSpPr>
        <dsp:cNvPr id="0" name=""/>
        <dsp:cNvSpPr/>
      </dsp:nvSpPr>
      <dsp:spPr>
        <a:xfrm>
          <a:off x="1414359" y="2404284"/>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zure resource group and Windows image</a:t>
          </a:r>
        </a:p>
      </dsp:txBody>
      <dsp:txXfrm>
        <a:off x="1437181" y="2427106"/>
        <a:ext cx="1181418" cy="733540"/>
      </dsp:txXfrm>
    </dsp:sp>
    <dsp:sp modelId="{DF19532D-1CDE-40E8-B84A-E45153A9E1E1}">
      <dsp:nvSpPr>
        <dsp:cNvPr id="0" name=""/>
        <dsp:cNvSpPr/>
      </dsp:nvSpPr>
      <dsp:spPr>
        <a:xfrm>
          <a:off x="153211" y="3410817"/>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7B3D3075-FD98-4733-84A3-D20974023ABF}">
      <dsp:nvSpPr>
        <dsp:cNvPr id="0" name=""/>
        <dsp:cNvSpPr/>
      </dsp:nvSpPr>
      <dsp:spPr>
        <a:xfrm>
          <a:off x="289552" y="3540340"/>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VM</a:t>
          </a:r>
        </a:p>
      </dsp:txBody>
      <dsp:txXfrm>
        <a:off x="312374" y="3563162"/>
        <a:ext cx="1181418" cy="733540"/>
      </dsp:txXfrm>
    </dsp:sp>
    <dsp:sp modelId="{C3249CB6-A2DA-4679-AB98-2FA767D04C06}">
      <dsp:nvSpPr>
        <dsp:cNvPr id="0" name=""/>
        <dsp:cNvSpPr/>
      </dsp:nvSpPr>
      <dsp:spPr>
        <a:xfrm>
          <a:off x="153211" y="4546872"/>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5A66EFA-B088-4F91-8A26-798452D3EDE1}">
      <dsp:nvSpPr>
        <dsp:cNvPr id="0" name=""/>
        <dsp:cNvSpPr/>
      </dsp:nvSpPr>
      <dsp:spPr>
        <a:xfrm>
          <a:off x="289552" y="4676396"/>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cs typeface="Segoe UI Semibold"/>
            </a:rPr>
            <a:t>Signed-in </a:t>
          </a:r>
          <a:r>
            <a:rPr lang="en-US" sz="1200" kern="1200" dirty="0"/>
            <a:t>user</a:t>
          </a:r>
        </a:p>
      </dsp:txBody>
      <dsp:txXfrm>
        <a:off x="312374" y="4699218"/>
        <a:ext cx="1181418" cy="733540"/>
      </dsp:txXfrm>
    </dsp:sp>
    <dsp:sp modelId="{F400DC93-A1C9-4293-9404-80D675E4811F}">
      <dsp:nvSpPr>
        <dsp:cNvPr id="0" name=""/>
        <dsp:cNvSpPr/>
      </dsp:nvSpPr>
      <dsp:spPr>
        <a:xfrm>
          <a:off x="2402827" y="3410817"/>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151EB5DF-7D4D-4001-A4D7-5C51FCF76BB3}">
      <dsp:nvSpPr>
        <dsp:cNvPr id="0" name=""/>
        <dsp:cNvSpPr/>
      </dsp:nvSpPr>
      <dsp:spPr>
        <a:xfrm>
          <a:off x="2539167" y="3540340"/>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Subset of apps on image</a:t>
          </a:r>
        </a:p>
      </dsp:txBody>
      <dsp:txXfrm>
        <a:off x="2561989" y="3563162"/>
        <a:ext cx="1181418" cy="733540"/>
      </dsp:txXfrm>
    </dsp:sp>
    <dsp:sp modelId="{0DD23B8F-CD52-4EF0-A25C-7F75674A7FE8}">
      <dsp:nvSpPr>
        <dsp:cNvPr id="0" name=""/>
        <dsp:cNvSpPr/>
      </dsp:nvSpPr>
      <dsp:spPr>
        <a:xfrm>
          <a:off x="1652955" y="4546872"/>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1789295" y="4676396"/>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ublished Windows application</a:t>
          </a:r>
        </a:p>
      </dsp:txBody>
      <dsp:txXfrm>
        <a:off x="1812117" y="4699218"/>
        <a:ext cx="1181418" cy="733540"/>
      </dsp:txXfrm>
    </dsp:sp>
    <dsp:sp modelId="{0F7B726A-4ECE-4EFF-AEBF-2F6DD563957E}">
      <dsp:nvSpPr>
        <dsp:cNvPr id="0" name=""/>
        <dsp:cNvSpPr/>
      </dsp:nvSpPr>
      <dsp:spPr>
        <a:xfrm>
          <a:off x="3152698" y="4546872"/>
          <a:ext cx="1227062" cy="779184"/>
        </a:xfrm>
        <a:prstGeom prst="roundRect">
          <a:avLst>
            <a:gd name="adj" fmla="val 10000"/>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289039" y="4676396"/>
          <a:ext cx="1227062" cy="779184"/>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ublished Windows desktop</a:t>
          </a:r>
        </a:p>
      </dsp:txBody>
      <dsp:txXfrm>
        <a:off x="3311861" y="4699218"/>
        <a:ext cx="1181418" cy="7335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883007-0792-4267-AA40-649CAFDFB10C}" type="datetimeFigureOut">
              <a:rPr lang="en-AU" smtClean="0"/>
              <a:t>22/01/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F08C7C-383D-4ACC-B32D-B36BFD99974C}" type="slidenum">
              <a:rPr lang="en-AU" smtClean="0"/>
              <a:t>‹#›</a:t>
            </a:fld>
            <a:endParaRPr lang="en-AU"/>
          </a:p>
        </p:txBody>
      </p:sp>
    </p:spTree>
    <p:extLst>
      <p:ext uri="{BB962C8B-B14F-4D97-AF65-F5344CB8AC3E}">
        <p14:creationId xmlns:p14="http://schemas.microsoft.com/office/powerpoint/2010/main" val="28980442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microsoft.com/en-us/microsoft-365/blog/2019/03/21/windows-virtual-desktop-public-pre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azure/virtual-desktop/partner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2023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D17E89-F5CB-4E92-9B94-87E02D5111EB}"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46391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186BBD8-A219-4A3A-A300-583C67B76E9B}"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9605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6A79C3-E7B7-4A1C-B4EF-5C65DDB09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801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538F478C-BD24-46C6-9C39-A8C082C53D34}"/>
              </a:ext>
            </a:extLst>
          </p:cNvPr>
          <p:cNvSpPr>
            <a:spLocks noGrp="1"/>
          </p:cNvSpPr>
          <p:nvPr>
            <p:ph type="body" idx="1"/>
          </p:nvPr>
        </p:nvSpPr>
        <p:spPr/>
        <p:txBody>
          <a:bodyPr/>
          <a:lstStyle/>
          <a:p>
            <a:r>
              <a:rPr lang="da-DK" dirty="0">
                <a:hlinkClick r:id="rId3"/>
              </a:rPr>
              <a:t>https://www.microsoft.com/en-us/microsoft-365/blog/2019/03/21/windows-virtual-desktop-public-preview/</a:t>
            </a:r>
            <a:endParaRPr lang="da-DK" dirty="0"/>
          </a:p>
        </p:txBody>
      </p:sp>
    </p:spTree>
    <p:extLst>
      <p:ext uri="{BB962C8B-B14F-4D97-AF65-F5344CB8AC3E}">
        <p14:creationId xmlns:p14="http://schemas.microsoft.com/office/powerpoint/2010/main" val="3926907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70685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2705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9907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8F660-2766-40EF-8E3B-AD0EA6D83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747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119487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4135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01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066400-1FB6-4C03-910F-2176F0CBEFFD}"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820069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2803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05147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4276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3790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51836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243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954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a:t>GOAL: Point out the functionality in Microsoft 365 Business and tell partners to use this as a reference guide. </a:t>
            </a:r>
          </a:p>
          <a:p>
            <a:pPr marL="0" indent="0">
              <a:buFontTx/>
              <a:buNone/>
            </a:pPr>
            <a:endParaRPr lang="en-US"/>
          </a:p>
          <a:p>
            <a:pPr marL="174708" indent="-174708">
              <a:buFontTx/>
              <a:buChar char="-"/>
            </a:pPr>
            <a:r>
              <a:rPr lang="en-US"/>
              <a:t>Detailed view of functionality across plans. </a:t>
            </a:r>
          </a:p>
          <a:p>
            <a:pPr marL="174708" indent="-174708">
              <a:buFontTx/>
              <a:buChar char="-"/>
            </a:pPr>
            <a:r>
              <a:rPr lang="en-US"/>
              <a:t>For price point, M365 Business is best value plan for SMB customer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63B25FF-BA73-42C2-BCED-EF99C72AE33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011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905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44646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0454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590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9533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hlinkClick r:id="rId3"/>
              </a:rPr>
              <a:t>https://docs.microsoft.com/en-us/azure/virtual-desktop/partners</a:t>
            </a:r>
            <a:endParaRPr lang="da-DK" dirty="0"/>
          </a:p>
        </p:txBody>
      </p:sp>
      <p:sp>
        <p:nvSpPr>
          <p:cNvPr id="4" name="Slide Number Placeholder 3"/>
          <p:cNvSpPr>
            <a:spLocks noGrp="1"/>
          </p:cNvSpPr>
          <p:nvPr>
            <p:ph type="sldNum" sz="quarter" idx="5"/>
          </p:nvPr>
        </p:nvSpPr>
        <p:spPr/>
        <p:txBody>
          <a:bodyPr/>
          <a:lstStyle/>
          <a:p>
            <a:fld id="{34F08C7C-383D-4ACC-B32D-B36BFD99974C}" type="slidenum">
              <a:rPr lang="en-AU" smtClean="0"/>
              <a:t>37</a:t>
            </a:fld>
            <a:endParaRPr lang="en-AU"/>
          </a:p>
        </p:txBody>
      </p:sp>
    </p:spTree>
    <p:extLst>
      <p:ext uri="{BB962C8B-B14F-4D97-AF65-F5344CB8AC3E}">
        <p14:creationId xmlns:p14="http://schemas.microsoft.com/office/powerpoint/2010/main" val="21309472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a:t>Deep dive into Architectur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4C02D7-A5A7-495C-8EC5-211452077B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1169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14597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14D3C2-8136-4A66-94C8-A8DD949ED0E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4755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22/2020 5: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71986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8906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AU"/>
              <a:t>Now onto Module 2- moving customers to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401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34F08C7C-383D-4ACC-B32D-B36BFD99974C}" type="slidenum">
              <a:rPr lang="en-AU" smtClean="0"/>
              <a:t>5</a:t>
            </a:fld>
            <a:endParaRPr lang="en-AU"/>
          </a:p>
        </p:txBody>
      </p:sp>
    </p:spTree>
    <p:extLst>
      <p:ext uri="{BB962C8B-B14F-4D97-AF65-F5344CB8AC3E}">
        <p14:creationId xmlns:p14="http://schemas.microsoft.com/office/powerpoint/2010/main" val="1490500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13" rtl="0" eaLnBrk="1" fontAlgn="auto" latinLnBrk="0" hangingPunct="1">
              <a:lnSpc>
                <a:spcPct val="100000"/>
              </a:lnSpc>
              <a:spcBef>
                <a:spcPts val="0"/>
              </a:spcBef>
              <a:spcAft>
                <a:spcPts val="0"/>
              </a:spcAft>
              <a:buClrTx/>
              <a:buSzTx/>
              <a:buFontTx/>
              <a:buNone/>
              <a:tabLst/>
              <a:defRPr/>
            </a:pPr>
            <a:r>
              <a:rPr lang="en-US" sz="1400" b="1"/>
              <a:t>Goal: establish the context on trends fueling SMB IT growth </a:t>
            </a:r>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b="1"/>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b="1"/>
          </a:p>
          <a:p>
            <a:pPr marL="0" marR="0" lvl="0" indent="0" algn="l" defTabSz="932513" rtl="0" eaLnBrk="1" fontAlgn="auto" latinLnBrk="0" hangingPunct="1">
              <a:lnSpc>
                <a:spcPct val="100000"/>
              </a:lnSpc>
              <a:spcBef>
                <a:spcPts val="0"/>
              </a:spcBef>
              <a:spcAft>
                <a:spcPts val="0"/>
              </a:spcAft>
              <a:buClrTx/>
              <a:buSzTx/>
              <a:buFontTx/>
              <a:buNone/>
              <a:tabLst/>
              <a:defRPr/>
            </a:pPr>
            <a:r>
              <a:rPr lang="en-US" sz="1400">
                <a:solidFill>
                  <a:srgbClr val="282828"/>
                </a:solidFill>
                <a:latin typeface="Segoe UI" panose="020B0502040204020203" pitchFamily="34" charset="0"/>
                <a:cs typeface="Segoe UI" panose="020B0502040204020203" pitchFamily="34" charset="0"/>
              </a:rPr>
              <a:t>Nearly 3 quarters of workers will be working remotely by 2020, a 10-point increase over 2018</a:t>
            </a:r>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a:solidFill>
                <a:srgbClr val="282828"/>
              </a:solidFill>
              <a:latin typeface="Segoe UI" panose="020B0502040204020203" pitchFamily="34" charset="0"/>
              <a:cs typeface="Segoe UI" panose="020B0502040204020203" pitchFamily="34" charset="0"/>
            </a:endParaRPr>
          </a:p>
          <a:p>
            <a:pPr marL="0" marR="0" lvl="0" indent="0" algn="l" defTabSz="932513" rtl="0" eaLnBrk="1" fontAlgn="auto" latinLnBrk="0" hangingPunct="1">
              <a:lnSpc>
                <a:spcPct val="100000"/>
              </a:lnSpc>
              <a:spcBef>
                <a:spcPts val="0"/>
              </a:spcBef>
              <a:spcAft>
                <a:spcPts val="0"/>
              </a:spcAft>
              <a:buClrTx/>
              <a:buSzTx/>
              <a:buFontTx/>
              <a:buNone/>
              <a:tabLst/>
              <a:defRPr/>
            </a:pPr>
            <a:r>
              <a:rPr lang="en-US" sz="1400">
                <a:solidFill>
                  <a:srgbClr val="282828"/>
                </a:solidFill>
                <a:latin typeface="Segoe UI" panose="020B0502040204020203" pitchFamily="34" charset="0"/>
                <a:cs typeface="Segoe UI" panose="020B0502040204020203" pitchFamily="34" charset="0"/>
              </a:rPr>
              <a:t>Over 100 cloud apps at the average SMB, with 61% being shadow IT</a:t>
            </a:r>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a:solidFill>
                <a:srgbClr val="282828"/>
              </a:solidFill>
              <a:latin typeface="Segoe UI" panose="020B0502040204020203" pitchFamily="34" charset="0"/>
              <a:cs typeface="Segoe UI" panose="020B0502040204020203" pitchFamily="34" charset="0"/>
            </a:endParaRPr>
          </a:p>
          <a:p>
            <a:pPr marL="0" marR="0" lvl="0" indent="0" algn="l" defTabSz="932513" rtl="0" eaLnBrk="1" fontAlgn="auto" latinLnBrk="0" hangingPunct="1">
              <a:lnSpc>
                <a:spcPct val="100000"/>
              </a:lnSpc>
              <a:spcBef>
                <a:spcPts val="0"/>
              </a:spcBef>
              <a:spcAft>
                <a:spcPts val="0"/>
              </a:spcAft>
              <a:buClrTx/>
              <a:buSzTx/>
              <a:buFontTx/>
              <a:buNone/>
              <a:tabLst/>
              <a:defRPr/>
            </a:pPr>
            <a:r>
              <a:rPr lang="en-US" sz="1400">
                <a:solidFill>
                  <a:srgbClr val="282828"/>
                </a:solidFill>
                <a:latin typeface="Segoe UI" panose="020B0502040204020203" pitchFamily="34" charset="0"/>
                <a:cs typeface="Segoe UI" panose="020B0502040204020203" pitchFamily="34" charset="0"/>
              </a:rPr>
              <a:t>Of time at work is spent collaborating, on more than twice as many teams we were on just a few years ago</a:t>
            </a:r>
            <a:r>
              <a:rPr lang="en-US" sz="1400" baseline="30000">
                <a:solidFill>
                  <a:srgbClr val="282828"/>
                </a:solidFill>
                <a:latin typeface="Segoe UI" panose="020B0502040204020203" pitchFamily="34" charset="0"/>
                <a:cs typeface="Segoe UI" panose="020B0502040204020203" pitchFamily="34" charset="0"/>
              </a:rPr>
              <a:t>3</a:t>
            </a:r>
          </a:p>
          <a:p>
            <a:pPr algn="ctr" defTabSz="914102" fontAlgn="base">
              <a:lnSpc>
                <a:spcPct val="90000"/>
              </a:lnSpc>
              <a:spcBef>
                <a:spcPct val="0"/>
              </a:spcBef>
              <a:defRPr/>
            </a:pPr>
            <a:endParaRPr lang="en-US" sz="1400">
              <a:solidFill>
                <a:srgbClr val="0078D4"/>
              </a:solidFill>
              <a:latin typeface="Segoe UI Semibold"/>
            </a:endParaRPr>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baseline="30000">
              <a:solidFill>
                <a:srgbClr val="282828"/>
              </a:solidFill>
              <a:latin typeface="Segoe UI" panose="020B0502040204020203" pitchFamily="34" charset="0"/>
              <a:cs typeface="Segoe UI" panose="020B0502040204020203" pitchFamily="34" charset="0"/>
            </a:endParaRPr>
          </a:p>
          <a:p>
            <a:pPr algn="ctr" defTabSz="896094" fontAlgn="base">
              <a:lnSpc>
                <a:spcPct val="90000"/>
              </a:lnSpc>
              <a:spcBef>
                <a:spcPct val="0"/>
              </a:spcBef>
              <a:defRPr/>
            </a:pPr>
            <a:endParaRPr lang="en-US" sz="1400">
              <a:solidFill>
                <a:srgbClr val="0078D4"/>
              </a:solidFill>
              <a:latin typeface="Segoe UI Semibold"/>
            </a:endParaRPr>
          </a:p>
          <a:p>
            <a:pPr algn="ctr" defTabSz="896094" fontAlgn="base">
              <a:lnSpc>
                <a:spcPct val="90000"/>
              </a:lnSpc>
              <a:spcBef>
                <a:spcPct val="0"/>
              </a:spcBef>
              <a:defRPr/>
            </a:pPr>
            <a:endParaRPr lang="en-US" sz="1400">
              <a:solidFill>
                <a:srgbClr val="0078D4"/>
              </a:solidFill>
              <a:latin typeface="Segoe UI Semibold"/>
            </a:endParaRPr>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b="1"/>
          </a:p>
          <a:p>
            <a:pPr marL="0" marR="0" lvl="0" indent="0" algn="l" defTabSz="932513" rtl="0" eaLnBrk="1" fontAlgn="auto" latinLnBrk="0" hangingPunct="1">
              <a:lnSpc>
                <a:spcPct val="100000"/>
              </a:lnSpc>
              <a:spcBef>
                <a:spcPts val="0"/>
              </a:spcBef>
              <a:spcAft>
                <a:spcPts val="0"/>
              </a:spcAft>
              <a:buClrTx/>
              <a:buSzTx/>
              <a:buFontTx/>
              <a:buNone/>
              <a:tabLst/>
              <a:defRPr/>
            </a:pPr>
            <a:endParaRPr lang="en-US" sz="1400" b="1"/>
          </a:p>
          <a:p>
            <a:pPr marL="0" marR="0" lvl="0" indent="0" algn="l" defTabSz="932513" rtl="0" eaLnBrk="1" fontAlgn="auto" latinLnBrk="0" hangingPunct="1">
              <a:lnSpc>
                <a:spcPct val="100000"/>
              </a:lnSpc>
              <a:spcBef>
                <a:spcPts val="0"/>
              </a:spcBef>
              <a:spcAft>
                <a:spcPts val="0"/>
              </a:spcAft>
              <a:buClrTx/>
              <a:buSzTx/>
              <a:buFontTx/>
              <a:buNone/>
              <a:tabLst/>
              <a:defRPr/>
            </a:pPr>
            <a:r>
              <a:rPr lang="en-US" sz="1400" b="1"/>
              <a:t>Sources: </a:t>
            </a:r>
            <a:r>
              <a:rPr lang="en-US" sz="1400"/>
              <a:t>1. IDC Forecast; 2. TBD 3. TBD; </a:t>
            </a:r>
          </a:p>
          <a:p>
            <a:endParaRPr lang="en-US"/>
          </a:p>
        </p:txBody>
      </p:sp>
      <p:sp>
        <p:nvSpPr>
          <p:cNvPr id="4" name="Slide Number Placeholder 3"/>
          <p:cNvSpPr>
            <a:spLocks noGrp="1"/>
          </p:cNvSpPr>
          <p:nvPr>
            <p:ph type="sldNum" sz="quarter" idx="5"/>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031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a:t>Goal: Outline customer need for Modern Desktop. Focus conversation on security risks if don’t upgrade.</a:t>
            </a:r>
          </a:p>
        </p:txBody>
      </p:sp>
      <p:sp>
        <p:nvSpPr>
          <p:cNvPr id="4" name="Slide Number Placeholder 3"/>
          <p:cNvSpPr>
            <a:spLocks noGrp="1"/>
          </p:cNvSpPr>
          <p:nvPr>
            <p:ph type="sldNum" sz="quarter" idx="5"/>
          </p:nvPr>
        </p:nvSpPr>
        <p:spPr/>
        <p:txBody>
          <a:bodyPr/>
          <a:lstStyle/>
          <a:p>
            <a:fld id="{34F08C7C-383D-4ACC-B32D-B36BFD99974C}" type="slidenum">
              <a:rPr lang="en-AU" smtClean="0"/>
              <a:t>7</a:t>
            </a:fld>
            <a:endParaRPr lang="en-AU"/>
          </a:p>
        </p:txBody>
      </p:sp>
    </p:spTree>
    <p:extLst>
      <p:ext uri="{BB962C8B-B14F-4D97-AF65-F5344CB8AC3E}">
        <p14:creationId xmlns:p14="http://schemas.microsoft.com/office/powerpoint/2010/main" val="3242896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ystem Center Marketing</a:t>
            </a:r>
          </a:p>
        </p:txBody>
      </p:sp>
      <p:sp>
        <p:nvSpPr>
          <p:cNvPr id="5" name="Footer Placeholder 4"/>
          <p:cNvSpPr>
            <a:spLocks noGrp="1"/>
          </p:cNvSpPr>
          <p:nvPr>
            <p:ph type="ftr" sz="quarter" idx="11"/>
          </p:nvPr>
        </p:nvSpPr>
        <p:spPr/>
        <p:txBody>
          <a:bodyPr/>
          <a:lstStyle/>
          <a:p>
            <a:pPr marL="571500" marR="0" lvl="0" indent="0" algn="l" defTabSz="10065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10065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A4072DC-4D4A-44A6-9718-D6EFA394B0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4394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ystem Center Marketing</a:t>
            </a:r>
          </a:p>
        </p:txBody>
      </p:sp>
      <p:sp>
        <p:nvSpPr>
          <p:cNvPr id="5" name="Footer Placeholder 4"/>
          <p:cNvSpPr>
            <a:spLocks noGrp="1"/>
          </p:cNvSpPr>
          <p:nvPr>
            <p:ph type="ftr" sz="quarter" idx="11"/>
          </p:nvPr>
        </p:nvSpPr>
        <p:spPr/>
        <p:txBody>
          <a:bodyPr/>
          <a:lstStyle/>
          <a:p>
            <a:pPr marL="571500" marR="0" lvl="0" indent="0" algn="l" defTabSz="10065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10065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A4072DC-4D4A-44A6-9718-D6EFA394B0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72023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45.png"/><Relationship Id="rId4" Type="http://schemas.openxmlformats.org/officeDocument/2006/relationships/image" Target="../media/image4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jp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48.jp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8.xml"/><Relationship Id="rId5" Type="http://schemas.openxmlformats.org/officeDocument/2006/relationships/image" Target="../media/image49.jpg"/><Relationship Id="rId4" Type="http://schemas.openxmlformats.org/officeDocument/2006/relationships/image" Target="../media/image48.jp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8.xml"/><Relationship Id="rId4" Type="http://schemas.openxmlformats.org/officeDocument/2006/relationships/image" Target="../media/image50.jp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1.jpg"/><Relationship Id="rId1" Type="http://schemas.openxmlformats.org/officeDocument/2006/relationships/slideMaster" Target="../slideMasters/slideMaster8.xml"/><Relationship Id="rId5" Type="http://schemas.openxmlformats.org/officeDocument/2006/relationships/image" Target="../media/image52.emf"/><Relationship Id="rId4" Type="http://schemas.microsoft.com/office/2007/relationships/hdphoto" Target="../media/hdphoto1.wdp"/></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emf"/><Relationship Id="rId1" Type="http://schemas.openxmlformats.org/officeDocument/2006/relationships/slideMaster" Target="../slideMasters/slideMaster9.xml"/><Relationship Id="rId4" Type="http://schemas.openxmlformats.org/officeDocument/2006/relationships/image" Target="../media/image56.svg"/></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emf"/><Relationship Id="rId1" Type="http://schemas.openxmlformats.org/officeDocument/2006/relationships/slideMaster" Target="../slideMasters/slideMaster11.xml"/><Relationship Id="rId4" Type="http://schemas.openxmlformats.org/officeDocument/2006/relationships/image" Target="../media/image56.svg"/></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emf"/><Relationship Id="rId1" Type="http://schemas.openxmlformats.org/officeDocument/2006/relationships/slideMaster" Target="../slideMasters/slideMaster12.xml"/><Relationship Id="rId4" Type="http://schemas.openxmlformats.org/officeDocument/2006/relationships/image" Target="../media/image56.sv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65.emf"/><Relationship Id="rId4" Type="http://schemas.openxmlformats.org/officeDocument/2006/relationships/oleObject" Target="../embeddings/oleObject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5.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8.png"/></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2.emf"/><Relationship Id="rId5" Type="http://schemas.openxmlformats.org/officeDocument/2006/relationships/oleObject" Target="../embeddings/oleObject5.bin"/><Relationship Id="rId4"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emf"/><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jp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jp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jp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75A70E-E7C1-4AE3-9B2E-FB18AE9EC1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 y="0"/>
            <a:ext cx="12190271" cy="6858000"/>
          </a:xfrm>
          <a:prstGeom prst="rect">
            <a:avLst/>
          </a:prstGeom>
        </p:spPr>
      </p:pic>
      <p:sp>
        <p:nvSpPr>
          <p:cNvPr id="3" name="Rectangle 2"/>
          <p:cNvSpPr/>
          <p:nvPr userDrawn="1"/>
        </p:nvSpPr>
        <p:spPr bwMode="auto">
          <a:xfrm>
            <a:off x="0" y="-1491"/>
            <a:ext cx="12192000" cy="6858000"/>
          </a:xfrm>
          <a:prstGeom prst="rect">
            <a:avLst/>
          </a:prstGeom>
          <a:gradFill>
            <a:gsLst>
              <a:gs pos="73000">
                <a:srgbClr val="000000">
                  <a:alpha val="45000"/>
                </a:srgbClr>
              </a:gs>
              <a:gs pos="22000">
                <a:schemeClr val="bg1">
                  <a:lumMod val="10000"/>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7" name="Picture 96"/>
          <p:cNvPicPr>
            <a:picLocks noChangeAspect="1"/>
          </p:cNvPicPr>
          <p:nvPr userDrawn="1"/>
        </p:nvPicPr>
        <p:blipFill rotWithShape="1">
          <a:blip r:embed="rId3" cstate="print">
            <a:extLst>
              <a:ext uri="{28A0092B-C50C-407E-A947-70E740481C1C}">
                <a14:useLocalDpi xmlns:a14="http://schemas.microsoft.com/office/drawing/2010/main" val="0"/>
              </a:ext>
            </a:extLst>
          </a:blip>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49"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cstate="print">
            <a:extLst>
              <a:ext uri="{28A0092B-C50C-407E-A947-70E740481C1C}">
                <a14:useLocalDpi xmlns:a14="http://schemas.microsoft.com/office/drawing/2010/main" val="0"/>
              </a:ext>
            </a:extLst>
          </a:blip>
          <a:srcRect r="76414"/>
          <a:stretch/>
        </p:blipFill>
        <p:spPr bwMode="black">
          <a:xfrm>
            <a:off x="455996" y="440495"/>
            <a:ext cx="216323" cy="196431"/>
          </a:xfrm>
          <a:prstGeom prst="rect">
            <a:avLst/>
          </a:prstGeom>
        </p:spPr>
      </p:pic>
    </p:spTree>
    <p:extLst>
      <p:ext uri="{BB962C8B-B14F-4D97-AF65-F5344CB8AC3E}">
        <p14:creationId xmlns:p14="http://schemas.microsoft.com/office/powerpoint/2010/main" val="214106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0306848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1961"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0pt</a:t>
            </a:r>
          </a:p>
          <a:p>
            <a:pPr lvl="0"/>
            <a:r>
              <a:rPr lang="pt-BR"/>
              <a:t>Subhead Segoe UI 20pt</a:t>
            </a:r>
          </a:p>
          <a:p>
            <a:pPr lvl="0"/>
            <a:r>
              <a:rPr lang="pt-BR"/>
              <a:t>Subhead Segoe UI 20pt</a:t>
            </a:r>
          </a:p>
        </p:txBody>
      </p:sp>
    </p:spTree>
    <p:extLst>
      <p:ext uri="{BB962C8B-B14F-4D97-AF65-F5344CB8AC3E}">
        <p14:creationId xmlns:p14="http://schemas.microsoft.com/office/powerpoint/2010/main" val="236091472"/>
      </p:ext>
    </p:extLst>
  </p:cSld>
  <p:clrMapOvr>
    <a:masterClrMapping/>
  </p:clrMapOvr>
  <p:transition>
    <p:fade/>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192771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latin typeface="+mj-lt"/>
              </a:defRPr>
            </a:lvl1pPr>
          </a:lstStyle>
          <a:p>
            <a:r>
              <a:rPr lang="en-US"/>
              <a:t>Heading Segoe UI </a:t>
            </a:r>
            <a:r>
              <a:rPr lang="en-US" err="1"/>
              <a:t>Semibold</a:t>
            </a:r>
            <a:r>
              <a:rPr lang="en-US"/>
              <a:t> 36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198519"/>
            <a:ext cx="11339774" cy="298752"/>
          </a:xfrm>
        </p:spPr>
        <p:txBody>
          <a:bodyPr wrap="square" lIns="0" tIns="0" rIns="0" bIns="0">
            <a:spAutoFit/>
          </a:bodyPr>
          <a:lstStyle>
            <a:lvl1pPr marL="0" indent="0">
              <a:lnSpc>
                <a:spcPct val="90000"/>
              </a:lnSpc>
              <a:spcBef>
                <a:spcPts val="0"/>
              </a:spcBef>
              <a:spcAft>
                <a:spcPts val="1272"/>
              </a:spcAft>
              <a:buNone/>
              <a:defRPr sz="2157" b="0" i="0">
                <a:solidFill>
                  <a:srgbClr val="000000"/>
                </a:solidFill>
                <a:latin typeface="+mn-lt"/>
              </a:defRPr>
            </a:lvl1pPr>
            <a:lvl2pPr marL="224011" indent="0">
              <a:lnSpc>
                <a:spcPct val="90000"/>
              </a:lnSpc>
              <a:spcBef>
                <a:spcPts val="0"/>
              </a:spcBef>
              <a:spcAft>
                <a:spcPts val="1272"/>
              </a:spcAft>
              <a:buNone/>
              <a:defRPr sz="1961">
                <a:solidFill>
                  <a:schemeClr val="tx2"/>
                </a:solidFill>
              </a:defRPr>
            </a:lvl2pPr>
            <a:lvl3pPr marL="448021" indent="0">
              <a:spcBef>
                <a:spcPts val="0"/>
              </a:spcBef>
              <a:spcAft>
                <a:spcPts val="1272"/>
              </a:spcAft>
              <a:buNone/>
              <a:defRPr sz="1961"/>
            </a:lvl3pPr>
            <a:lvl4pPr marL="672032" indent="0">
              <a:spcBef>
                <a:spcPts val="0"/>
              </a:spcBef>
              <a:spcAft>
                <a:spcPts val="1272"/>
              </a:spcAft>
              <a:buNone/>
              <a:defRPr sz="1961"/>
            </a:lvl4pPr>
            <a:lvl5pPr marL="896042" indent="0">
              <a:buNone/>
              <a:defRPr/>
            </a:lvl5pPr>
          </a:lstStyle>
          <a:p>
            <a:pPr lvl="0"/>
            <a:r>
              <a:rPr lang="en-US"/>
              <a:t>Subtitle Segoe UI 22pt</a:t>
            </a:r>
          </a:p>
        </p:txBody>
      </p:sp>
    </p:spTree>
    <p:extLst>
      <p:ext uri="{BB962C8B-B14F-4D97-AF65-F5344CB8AC3E}">
        <p14:creationId xmlns:p14="http://schemas.microsoft.com/office/powerpoint/2010/main" val="4697880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435823"/>
            <a:ext cx="11306469" cy="666336"/>
          </a:xfrm>
        </p:spPr>
        <p:txBody>
          <a:bodyPr vert="horz" wrap="square" lIns="0" tIns="164592" rIns="0" bIns="0" rtlCol="0" anchor="t">
            <a:noAutofit/>
          </a:bodyPr>
          <a:lstStyle>
            <a:lvl1pPr>
              <a:defRPr lang="en-US" sz="3234"/>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6" y="1161160"/>
            <a:ext cx="7278947" cy="5696841"/>
          </a:xfrm>
          <a:prstGeom prst="rect">
            <a:avLst/>
          </a:prstGeom>
        </p:spPr>
      </p:pic>
    </p:spTree>
    <p:extLst>
      <p:ext uri="{BB962C8B-B14F-4D97-AF65-F5344CB8AC3E}">
        <p14:creationId xmlns:p14="http://schemas.microsoft.com/office/powerpoint/2010/main" val="251180037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113732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14185768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19857525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5042571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152871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79127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21256460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62610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66775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361965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634283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702594605"/>
      </p:ext>
    </p:extLst>
  </p:cSld>
  <p:clrMapOvr>
    <a:masterClrMapping/>
  </p:clrMapOvr>
  <p:transition>
    <p:fade/>
  </p:transition>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a:solidFill>
                  <a:prstClr val="black">
                    <a:tint val="75000"/>
                  </a:prstClr>
                </a:solidFill>
              </a:rPr>
              <a:t>MS CONFIDENTIAL</a:t>
            </a:r>
            <a:endParaRPr dirty="0">
              <a:solidFill>
                <a:prstClr val="black">
                  <a:tint val="75000"/>
                </a:prstClr>
              </a:solidFill>
            </a:endParaRPr>
          </a:p>
        </p:txBody>
      </p:sp>
      <p:sp>
        <p:nvSpPr>
          <p:cNvPr id="3" name="Slide Number Placeholder 2"/>
          <p:cNvSpPr>
            <a:spLocks noGrp="1"/>
          </p:cNvSpPr>
          <p:nvPr>
            <p:ph type="sldNum" sz="quarter" idx="14"/>
          </p:nvPr>
        </p:nvSpPr>
        <p:spPr/>
        <p:txBody>
          <a:bodyPr/>
          <a:lstStyle/>
          <a:p>
            <a:fld id="{05722744-4DFE-4E56-A213-8E6ACE108F37}" type="slidenum">
              <a:rPr>
                <a:solidFill>
                  <a:prstClr val="black">
                    <a:tint val="75000"/>
                  </a:prstClr>
                </a:solidFill>
              </a:rPr>
              <a:pPr/>
              <a:t>‹#›</a:t>
            </a:fld>
            <a:endParaRPr dirty="0">
              <a:solidFill>
                <a:prstClr val="black">
                  <a:tint val="75000"/>
                </a:prstClr>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2416498120"/>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73610"/>
          </a:xfrm>
        </p:spPr>
        <p:txBody>
          <a:bodyPr/>
          <a:lstStyle>
            <a:lvl1pPr marL="0" indent="0">
              <a:buNone/>
              <a:defRPr/>
            </a:lvl1pPr>
          </a:lstStyle>
          <a:p>
            <a:r>
              <a:rPr lang="en-US"/>
              <a:t>Click icon to add picture</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14009740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7361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a:solidFill>
                  <a:prstClr val="black">
                    <a:tint val="75000"/>
                  </a:prstClr>
                </a:solidFill>
              </a:rPr>
              <a:t>MS CONFIDENTIAL</a:t>
            </a:r>
            <a:endParaRPr dirty="0">
              <a:solidFill>
                <a:prstClr val="black">
                  <a:tint val="75000"/>
                </a:prstClr>
              </a:solidFill>
            </a:endParaRPr>
          </a:p>
        </p:txBody>
      </p:sp>
      <p:sp>
        <p:nvSpPr>
          <p:cNvPr id="3" name="Slide Number Placeholder 2"/>
          <p:cNvSpPr>
            <a:spLocks noGrp="1"/>
          </p:cNvSpPr>
          <p:nvPr>
            <p:ph type="sldNum" sz="quarter" idx="14"/>
          </p:nvPr>
        </p:nvSpPr>
        <p:spPr/>
        <p:txBody>
          <a:bodyPr/>
          <a:lstStyle/>
          <a:p>
            <a:fld id="{05722744-4DFE-4E56-A213-8E6ACE108F37}" type="slidenum">
              <a:rPr>
                <a:solidFill>
                  <a:prstClr val="black">
                    <a:tint val="75000"/>
                  </a:prstClr>
                </a:solidFill>
              </a:rPr>
              <a:pPr/>
              <a:t>‹#›</a:t>
            </a:fld>
            <a:endParaRPr dirty="0">
              <a:solidFill>
                <a:prstClr val="black">
                  <a:tint val="75000"/>
                </a:prstClr>
              </a:soli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77159760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7361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20210692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7361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2599493922"/>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262595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7361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7892684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hf hdr="0" dt="0"/>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420115"/>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563924911"/>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8"/>
            <a:ext cx="5378549" cy="42011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80199564"/>
      </p:ext>
    </p:extLst>
  </p:cSld>
  <p:clrMapOvr>
    <a:overrideClrMapping bg1="dk1" tx1="lt1" bg2="dk2" tx2="lt2" accent1="accent1" accent2="accent2" accent3="accent3" accent4="accent4" accent5="accent5" accent6="accent6" hlink="hlink" folHlink="folHlink"/>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420115"/>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236684"/>
      </p:ext>
    </p:extLst>
  </p:cSld>
  <p:clrMapOvr>
    <a:overrideClrMapping bg1="dk1" tx1="lt1" bg2="dk2" tx2="lt2" accent1="accent1" accent2="accent2" accent3="accent3" accent4="accent4" accent5="accent5" accent6="accent6" hlink="hlink" folHlink="folHlink"/>
  </p:clrMapOvr>
  <p:hf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0"/>
            <a:ext cx="7171399" cy="538161"/>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913409050"/>
      </p:ext>
    </p:extLst>
  </p:cSld>
  <p:clrMapOvr>
    <a:masterClrMapping/>
  </p:clrMapOvr>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69"/>
            <a:ext cx="7171399" cy="538161"/>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83486694"/>
      </p:ext>
    </p:extLst>
  </p:cSld>
  <p:clrMapOvr>
    <a:overrideClrMapping bg1="dk1" tx1="lt1" bg2="dk2" tx2="lt2" accent1="accent1" accent2="accent2" accent3="accent3" accent4="accent4" accent5="accent5" accent6="accent6" hlink="hlink" folHlink="folHlink"/>
  </p:clrMapOvr>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69"/>
            <a:ext cx="7171399" cy="538161"/>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30248205"/>
      </p:ext>
    </p:extLst>
  </p:cSld>
  <p:clrMapOvr>
    <a:overrideClrMapping bg1="dk1" tx1="lt1" bg2="dk2" tx2="lt2" accent1="accent1" accent2="accent2" accent3="accent3" accent4="accent4" accent5="accent5" accent6="accent6" hlink="hlink" folHlink="folHlink"/>
  </p:clrMapOvr>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2459456"/>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1020932"/>
      </p:ext>
    </p:extLst>
  </p:cSld>
  <p:clrMapOvr>
    <a:masterClrMapping/>
  </p:clrMapOvr>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7361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2"/>
            <a:ext cx="6274974" cy="626518"/>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94687524"/>
      </p:ext>
    </p:extLst>
  </p:cSld>
  <p:clrMapOvr>
    <a:masterClrMapping/>
  </p:clrMapOvr>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52396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09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714683"/>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147831267"/>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3585699" cy="449803"/>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388057497"/>
      </p:ext>
    </p:extLst>
  </p:cSld>
  <p:clrMapOvr>
    <a:masterClrMapping/>
  </p:clrMapOvr>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7361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28094164"/>
      </p:ext>
    </p:extLst>
  </p:cSld>
  <p:clrMapOvr>
    <a:masterClrMapping/>
  </p:clrMapOvr>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40" y="2980725"/>
            <a:ext cx="11653523" cy="538161"/>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84639284"/>
      </p:ext>
    </p:extLst>
  </p:cSld>
  <p:clrMapOvr>
    <a:masterClrMapping/>
  </p:clrMapOvr>
  <p:hf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751133464"/>
      </p:ext>
    </p:extLst>
  </p:cSld>
  <p:clrMapOvr>
    <a:masterClrMapping/>
  </p:clrMapOvr>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567008788"/>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5802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47177313"/>
      </p:ext>
    </p:extLst>
  </p:cSld>
  <p:clrMapOvr>
    <a:overrideClrMapping bg1="dk1" tx1="lt1" bg2="dk2" tx2="lt2" accent1="accent1" accent2="accent2" accent3="accent3" accent4="accent4" accent5="accent5" accent6="accent6" hlink="hlink" folHlink="folHlink"/>
  </p:clrMapOvr>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20181094"/>
      </p:ext>
    </p:extLst>
  </p:cSld>
  <p:clrMapOvr>
    <a:overrideClrMapping bg1="dk1" tx1="lt1" bg2="dk2" tx2="lt2" accent1="accent1" accent2="accent2" accent3="accent3" accent4="accent4" accent5="accent5" accent6="accent6" hlink="hlink" folHlink="folHlink"/>
  </p:clrMapOvr>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57592214"/>
      </p:ext>
    </p:extLst>
  </p:cSld>
  <p:clrMapOvr>
    <a:overrideClrMapping bg1="dk1" tx1="lt1" bg2="dk2" tx2="lt2" accent1="accent1" accent2="accent2" accent3="accent3" accent4="accent4" accent5="accent5" accent6="accent6" hlink="hlink" folHlink="folHlink"/>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61931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a:t>Thank you</a:t>
            </a:r>
          </a:p>
        </p:txBody>
      </p:sp>
    </p:spTree>
    <p:extLst>
      <p:ext uri="{BB962C8B-B14F-4D97-AF65-F5344CB8AC3E}">
        <p14:creationId xmlns:p14="http://schemas.microsoft.com/office/powerpoint/2010/main" val="2776538824"/>
      </p:ext>
    </p:extLst>
  </p:cSld>
  <p:clrMapOvr>
    <a:masterClrMapping/>
  </p:clrMapOvr>
  <p:hf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5_Title Slide Soli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67467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3114448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solidFill>
                  <a:schemeClr val="bg1"/>
                </a:solidFill>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2146588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solidFill>
                  <a:schemeClr val="bg1"/>
                </a:solidFill>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0241750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0905095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0278351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8135211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06068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58pt Title/26pt Bullet Text">
    <p:bg>
      <p:bgPr>
        <a:solidFill>
          <a:srgbClr val="0072C6"/>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04515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A4AB0AD6-BEE0-4A9B-AE1F-9D266058E3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29591" y="438484"/>
            <a:ext cx="1046546" cy="224138"/>
          </a:xfrm>
          <a:prstGeom prst="rect">
            <a:avLst/>
          </a:prstGeom>
        </p:spPr>
      </p:pic>
    </p:spTree>
    <p:extLst>
      <p:ext uri="{BB962C8B-B14F-4D97-AF65-F5344CB8AC3E}">
        <p14:creationId xmlns:p14="http://schemas.microsoft.com/office/powerpoint/2010/main" val="1843585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58pt Title/26pt Bullet Text">
    <p:bg>
      <p:bgPr>
        <a:solidFill>
          <a:srgbClr val="505050"/>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5758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58pt Title/26pt Bullet Text">
    <p:bg>
      <p:bgPr>
        <a:solidFill>
          <a:srgbClr val="002050"/>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10999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8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4"/>
            <a:ext cx="8964248" cy="2651239"/>
          </a:xfrm>
        </p:spPr>
        <p:txBody>
          <a:bodyPr/>
          <a:lstStyle>
            <a:lvl1pPr marL="228722" indent="-228722">
              <a:spcBef>
                <a:spcPts val="1175"/>
              </a:spcBef>
              <a:defRPr sz="2353">
                <a:latin typeface="+mn-lt"/>
              </a:defRPr>
            </a:lvl1pPr>
            <a:lvl2pPr marL="676829" indent="-228722">
              <a:spcBef>
                <a:spcPts val="1175"/>
              </a:spcBef>
              <a:buSzPct val="100000"/>
              <a:buFont typeface="Segoe UI" pitchFamily="34" charset="0"/>
              <a:buChar char="‐"/>
              <a:defRPr sz="1961"/>
            </a:lvl2pPr>
            <a:lvl3pPr marL="1124936" indent="-228722">
              <a:spcBef>
                <a:spcPts val="1175"/>
              </a:spcBef>
              <a:buFont typeface="Wingdings" pitchFamily="2" charset="2"/>
              <a:buChar char="§"/>
              <a:defRPr sz="1765"/>
            </a:lvl3pPr>
            <a:lvl4pPr marL="1568375" indent="-336080">
              <a:spcBef>
                <a:spcPts val="1175"/>
              </a:spcBef>
              <a:buFont typeface="+mj-lt"/>
              <a:buAutoNum type="arabicPeriod"/>
              <a:defRPr sz="1567"/>
            </a:lvl4pPr>
            <a:lvl5pPr marL="1907567" indent="-336080">
              <a:spcBef>
                <a:spcPts val="1175"/>
              </a:spcBef>
              <a:buFont typeface="+mj-lt"/>
              <a:buAutoNum type="alphaLcParenR"/>
              <a:defRPr sz="1567"/>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6215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58pt Title/24pt Bullet Text">
    <p:bg>
      <p:bgPr>
        <a:solidFill>
          <a:srgbClr val="0072C6"/>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6614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58pt Title/24pt Bullet Text">
    <p:bg>
      <p:bgPr>
        <a:solidFill>
          <a:srgbClr val="505050"/>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8937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58pt Title/24pt Bullet Text">
    <p:bg>
      <p:bgPr>
        <a:solidFill>
          <a:srgbClr val="002050"/>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5685">
                <a:solidFill>
                  <a:schemeClr val="bg1"/>
                </a:solidFill>
              </a:defRPr>
            </a:lvl1pPr>
          </a:lstStyle>
          <a:p>
            <a:pPr lvl="0">
              <a:lnSpc>
                <a:spcPts val="6175"/>
              </a:lnSpc>
            </a:pPr>
            <a:r>
              <a:rPr lang="en-US"/>
              <a:t>Lorem ipsum dolor sit.</a:t>
            </a:r>
          </a:p>
        </p:txBody>
      </p:sp>
      <p:sp>
        <p:nvSpPr>
          <p:cNvPr id="7"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9"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4067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6pt Title/26pt Bullet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accent1"/>
                </a:solidFill>
              </a:defRPr>
            </a:lvl1pPr>
          </a:lstStyle>
          <a:p>
            <a:pPr marL="0" lvl="0">
              <a:lnSpc>
                <a:spcPts val="3528"/>
              </a:lnSpc>
              <a:spcBef>
                <a:spcPts val="847"/>
              </a:spcBef>
            </a:pPr>
            <a:r>
              <a:rPr lang="en-US"/>
              <a:t>Lorem ipsum dolor sit.</a:t>
            </a:r>
          </a:p>
        </p:txBody>
      </p:sp>
      <p:sp>
        <p:nvSpPr>
          <p:cNvPr id="6" name="Footer Placeholder 2"/>
          <p:cNvSpPr>
            <a:spLocks noGrp="1"/>
          </p:cNvSpPr>
          <p:nvPr>
            <p:ph type="ftr" sz="quarter" idx="10"/>
          </p:nvPr>
        </p:nvSpPr>
        <p:spPr>
          <a:xfrm>
            <a:off x="448212" y="6437243"/>
            <a:ext cx="3859607" cy="134483"/>
          </a:xfrm>
        </p:spPr>
        <p:txBody>
          <a:bodyPr/>
          <a:lstStyle/>
          <a:p>
            <a:endParaRPr dirty="0">
              <a:solidFill>
                <a:srgbClr val="505050"/>
              </a:solidFill>
            </a:endParaRPr>
          </a:p>
        </p:txBody>
      </p:sp>
      <p:sp>
        <p:nvSpPr>
          <p:cNvPr id="7" name="Slide Number Placeholder 3"/>
          <p:cNvSpPr>
            <a:spLocks noGrp="1"/>
          </p:cNvSpPr>
          <p:nvPr>
            <p:ph type="sldNum" sz="quarter" idx="11"/>
          </p:nvPr>
        </p:nvSpPr>
        <p:spPr>
          <a:xfrm>
            <a:off x="11367166" y="6437243"/>
            <a:ext cx="555596" cy="134483"/>
          </a:xfr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169062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36pt Title/26pt Bullet Text">
    <p:bg>
      <p:bgPr>
        <a:solidFill>
          <a:srgbClr val="0072C6"/>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28101140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36pt Title/26pt Bullet Text">
    <p:bg>
      <p:bgPr>
        <a:solidFill>
          <a:srgbClr val="505050"/>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6007598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36pt Title/26pt Bullet Text">
    <p:bg>
      <p:bgPr>
        <a:solidFill>
          <a:srgbClr val="002050"/>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995757"/>
          </a:xfrm>
        </p:spPr>
        <p:txBody>
          <a:bodyPr/>
          <a:lstStyle>
            <a:lvl1pPr marL="228722" indent="-228722">
              <a:spcBef>
                <a:spcPts val="1175"/>
              </a:spcBef>
              <a:defRPr sz="2549">
                <a:solidFill>
                  <a:schemeClr val="bg1"/>
                </a:solidFill>
                <a:latin typeface="+mn-lt"/>
              </a:defRPr>
            </a:lvl1pPr>
            <a:lvl2pPr marL="676829" indent="-228722">
              <a:spcBef>
                <a:spcPts val="1175"/>
              </a:spcBef>
              <a:buSzPct val="100000"/>
              <a:buFont typeface="Segoe UI" pitchFamily="34" charset="0"/>
              <a:buChar char="‐"/>
              <a:defRPr>
                <a:solidFill>
                  <a:schemeClr val="bg1"/>
                </a:solidFill>
              </a:defRPr>
            </a:lvl2pPr>
            <a:lvl3pPr marL="1124936" indent="-228722">
              <a:spcBef>
                <a:spcPts val="1175"/>
              </a:spcBef>
              <a:buFont typeface="Wingdings" pitchFamily="2" charset="2"/>
              <a:buChar char="§"/>
              <a:defRPr>
                <a:solidFill>
                  <a:schemeClr val="bg1"/>
                </a:solidFill>
              </a:defRPr>
            </a:lvl3pPr>
            <a:lvl4pPr marL="1568375" indent="-336080">
              <a:spcBef>
                <a:spcPts val="1175"/>
              </a:spcBef>
              <a:buFont typeface="+mj-lt"/>
              <a:buAutoNum type="arabicPeriod"/>
              <a:defRPr>
                <a:solidFill>
                  <a:schemeClr val="bg1"/>
                </a:solidFill>
              </a:defRPr>
            </a:lvl4pPr>
            <a:lvl5pPr marL="1907567" indent="-336080">
              <a:spcBef>
                <a:spcPts val="1175"/>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1162755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0FE60BB2-3884-42A4-ADFD-61164DA7FC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29545" y="438438"/>
            <a:ext cx="1048727" cy="224637"/>
          </a:xfrm>
          <a:prstGeom prst="rect">
            <a:avLst/>
          </a:prstGeom>
        </p:spPr>
      </p:pic>
    </p:spTree>
    <p:extLst>
      <p:ext uri="{BB962C8B-B14F-4D97-AF65-F5344CB8AC3E}">
        <p14:creationId xmlns:p14="http://schemas.microsoft.com/office/powerpoint/2010/main" val="3378975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6pt Title/24pt Bullet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accent1"/>
                </a:solidFill>
              </a:defRPr>
            </a:lvl1pPr>
          </a:lstStyle>
          <a:p>
            <a:pPr marL="0" lvl="0">
              <a:lnSpc>
                <a:spcPts val="3528"/>
              </a:lnSpc>
              <a:spcBef>
                <a:spcPts val="847"/>
              </a:spcBef>
            </a:pPr>
            <a:r>
              <a:rPr lang="en-US"/>
              <a:t>Lorem ipsum dolor sit.</a:t>
            </a:r>
          </a:p>
        </p:txBody>
      </p:sp>
      <p:sp>
        <p:nvSpPr>
          <p:cNvPr id="6" name="Footer Placeholder 2"/>
          <p:cNvSpPr>
            <a:spLocks noGrp="1"/>
          </p:cNvSpPr>
          <p:nvPr>
            <p:ph type="ftr" sz="quarter" idx="10"/>
          </p:nvPr>
        </p:nvSpPr>
        <p:spPr>
          <a:xfrm>
            <a:off x="448212" y="6437243"/>
            <a:ext cx="3859607" cy="134483"/>
          </a:xfrm>
        </p:spPr>
        <p:txBody>
          <a:bodyPr/>
          <a:lstStyle/>
          <a:p>
            <a:endParaRPr dirty="0">
              <a:solidFill>
                <a:srgbClr val="505050"/>
              </a:solidFill>
            </a:endParaRPr>
          </a:p>
        </p:txBody>
      </p:sp>
      <p:sp>
        <p:nvSpPr>
          <p:cNvPr id="7" name="Slide Number Placeholder 3"/>
          <p:cNvSpPr>
            <a:spLocks noGrp="1"/>
          </p:cNvSpPr>
          <p:nvPr>
            <p:ph type="sldNum" sz="quarter" idx="11"/>
          </p:nvPr>
        </p:nvSpPr>
        <p:spPr>
          <a:xfrm>
            <a:off x="11367166" y="6437243"/>
            <a:ext cx="555596" cy="134483"/>
          </a:xfr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4"/>
            <a:ext cx="8964248" cy="2651239"/>
          </a:xfrm>
        </p:spPr>
        <p:txBody>
          <a:bodyPr/>
          <a:lstStyle>
            <a:lvl1pPr marL="228722" indent="-228722">
              <a:spcBef>
                <a:spcPts val="1175"/>
              </a:spcBef>
              <a:defRPr sz="2353">
                <a:latin typeface="+mn-lt"/>
              </a:defRPr>
            </a:lvl1pPr>
            <a:lvl2pPr marL="676829" indent="-228722">
              <a:spcBef>
                <a:spcPts val="1175"/>
              </a:spcBef>
              <a:buSzPct val="100000"/>
              <a:buFont typeface="Segoe UI" pitchFamily="34" charset="0"/>
              <a:buChar char="‐"/>
              <a:defRPr sz="1961"/>
            </a:lvl2pPr>
            <a:lvl3pPr marL="1124936" indent="-228722">
              <a:spcBef>
                <a:spcPts val="1175"/>
              </a:spcBef>
              <a:buFont typeface="Wingdings" pitchFamily="2" charset="2"/>
              <a:buChar char="§"/>
              <a:defRPr sz="1765"/>
            </a:lvl3pPr>
            <a:lvl4pPr marL="1568375" indent="-336080">
              <a:spcBef>
                <a:spcPts val="1175"/>
              </a:spcBef>
              <a:buFont typeface="+mj-lt"/>
              <a:buAutoNum type="arabicPeriod"/>
              <a:defRPr sz="1567"/>
            </a:lvl4pPr>
            <a:lvl5pPr marL="1907567" indent="-336080">
              <a:spcBef>
                <a:spcPts val="1175"/>
              </a:spcBef>
              <a:buFont typeface="+mj-lt"/>
              <a:buAutoNum type="alphaLcParenR"/>
              <a:defRPr sz="1567"/>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27927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36pt Title/24pt Bullet Text">
    <p:bg>
      <p:bgPr>
        <a:solidFill>
          <a:srgbClr val="0072C6"/>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651239"/>
          </a:xfrm>
        </p:spPr>
        <p:txBody>
          <a:bodyPr/>
          <a:lstStyle>
            <a:lvl1pPr marL="228722" indent="-228722">
              <a:spcBef>
                <a:spcPts val="1175"/>
              </a:spcBef>
              <a:defRPr sz="2353">
                <a:solidFill>
                  <a:schemeClr val="bg1"/>
                </a:solidFill>
                <a:latin typeface="+mn-lt"/>
              </a:defRPr>
            </a:lvl1pPr>
            <a:lvl2pPr marL="676829" indent="-228722">
              <a:spcBef>
                <a:spcPts val="1175"/>
              </a:spcBef>
              <a:buSzPct val="100000"/>
              <a:buFont typeface="Segoe UI" pitchFamily="34" charset="0"/>
              <a:buChar char="‐"/>
              <a:defRPr sz="1961">
                <a:solidFill>
                  <a:schemeClr val="bg1"/>
                </a:solidFill>
              </a:defRPr>
            </a:lvl2pPr>
            <a:lvl3pPr marL="1124936" indent="-228722">
              <a:spcBef>
                <a:spcPts val="1175"/>
              </a:spcBef>
              <a:buFont typeface="Wingdings" pitchFamily="2" charset="2"/>
              <a:buChar char="§"/>
              <a:defRPr sz="1765">
                <a:solidFill>
                  <a:schemeClr val="bg1"/>
                </a:solidFill>
              </a:defRPr>
            </a:lvl3pPr>
            <a:lvl4pPr marL="1568375" indent="-336080">
              <a:spcBef>
                <a:spcPts val="1175"/>
              </a:spcBef>
              <a:buFont typeface="+mj-lt"/>
              <a:buAutoNum type="arabicPeriod"/>
              <a:defRPr sz="1567">
                <a:solidFill>
                  <a:schemeClr val="bg1"/>
                </a:solidFill>
              </a:defRPr>
            </a:lvl4pPr>
            <a:lvl5pPr marL="1907567" indent="-336080">
              <a:spcBef>
                <a:spcPts val="1175"/>
              </a:spcBef>
              <a:buFont typeface="+mj-lt"/>
              <a:buAutoNum type="alphaLcParenR"/>
              <a:defRPr sz="1567">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22084004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36pt Title/24pt Bullet Text">
    <p:bg>
      <p:bgPr>
        <a:solidFill>
          <a:srgbClr val="505050"/>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651239"/>
          </a:xfrm>
        </p:spPr>
        <p:txBody>
          <a:bodyPr/>
          <a:lstStyle>
            <a:lvl1pPr marL="228722" indent="-228722">
              <a:spcBef>
                <a:spcPts val="1175"/>
              </a:spcBef>
              <a:defRPr sz="2353">
                <a:solidFill>
                  <a:schemeClr val="bg1"/>
                </a:solidFill>
                <a:latin typeface="+mn-lt"/>
              </a:defRPr>
            </a:lvl1pPr>
            <a:lvl2pPr marL="676829" indent="-228722">
              <a:spcBef>
                <a:spcPts val="1175"/>
              </a:spcBef>
              <a:buSzPct val="100000"/>
              <a:buFont typeface="Segoe UI" pitchFamily="34" charset="0"/>
              <a:buChar char="‐"/>
              <a:defRPr sz="1961">
                <a:solidFill>
                  <a:schemeClr val="bg1"/>
                </a:solidFill>
              </a:defRPr>
            </a:lvl2pPr>
            <a:lvl3pPr marL="1124936" indent="-228722">
              <a:spcBef>
                <a:spcPts val="1175"/>
              </a:spcBef>
              <a:buFont typeface="Wingdings" pitchFamily="2" charset="2"/>
              <a:buChar char="§"/>
              <a:defRPr sz="1765">
                <a:solidFill>
                  <a:schemeClr val="bg1"/>
                </a:solidFill>
              </a:defRPr>
            </a:lvl3pPr>
            <a:lvl4pPr marL="1568375" indent="-336080">
              <a:spcBef>
                <a:spcPts val="1175"/>
              </a:spcBef>
              <a:buFont typeface="+mj-lt"/>
              <a:buAutoNum type="arabicPeriod"/>
              <a:defRPr sz="1567">
                <a:solidFill>
                  <a:schemeClr val="bg1"/>
                </a:solidFill>
              </a:defRPr>
            </a:lvl4pPr>
            <a:lvl5pPr marL="1907567" indent="-336080">
              <a:spcBef>
                <a:spcPts val="1175"/>
              </a:spcBef>
              <a:buFont typeface="+mj-lt"/>
              <a:buAutoNum type="alphaLcParenR"/>
              <a:defRPr sz="1567">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5000041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36pt Title/24pt Bullet Text">
    <p:bg>
      <p:bgPr>
        <a:solidFill>
          <a:srgbClr val="002050"/>
        </a:solidFill>
        <a:effectLst/>
      </p:bgPr>
    </p:bg>
    <p:spTree>
      <p:nvGrpSpPr>
        <p:cNvPr id="1" name=""/>
        <p:cNvGrpSpPr/>
        <p:nvPr/>
      </p:nvGrpSpPr>
      <p:grpSpPr>
        <a:xfrm>
          <a:off x="0" y="0"/>
          <a:ext cx="0" cy="0"/>
          <a:chOff x="0" y="0"/>
          <a:chExt cx="0" cy="0"/>
        </a:xfrm>
      </p:grpSpPr>
      <p:sp>
        <p:nvSpPr>
          <p:cNvPr id="9" name="Footer Placeholder 2"/>
          <p:cNvSpPr>
            <a:spLocks noGrp="1"/>
          </p:cNvSpPr>
          <p:nvPr>
            <p:ph type="ftr" sz="quarter" idx="10"/>
          </p:nvPr>
        </p:nvSpPr>
        <p:spPr>
          <a:xfrm>
            <a:off x="448212" y="6437243"/>
            <a:ext cx="3859607" cy="134483"/>
          </a:xfrm>
        </p:spPr>
        <p:txBody>
          <a:bodyPr/>
          <a:lstStyle>
            <a:lvl1pPr>
              <a:defRPr>
                <a:solidFill>
                  <a:schemeClr val="bg1"/>
                </a:solidFill>
              </a:defRPr>
            </a:lvl1pPr>
          </a:lstStyle>
          <a:p>
            <a:endParaRPr dirty="0">
              <a:solidFill>
                <a:srgbClr val="FFFFFF"/>
              </a:solidFill>
            </a:endParaRPr>
          </a:p>
        </p:txBody>
      </p:sp>
      <p:sp>
        <p:nvSpPr>
          <p:cNvPr id="10" name="Slide Number Placeholder 3"/>
          <p:cNvSpPr>
            <a:spLocks noGrp="1"/>
          </p:cNvSpPr>
          <p:nvPr>
            <p:ph type="sldNum" sz="quarter" idx="11"/>
          </p:nvPr>
        </p:nvSpPr>
        <p:spPr>
          <a:xfrm>
            <a:off x="11367166" y="6437243"/>
            <a:ext cx="555596" cy="134483"/>
          </a:xfr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1" name="Text Placeholder 7"/>
          <p:cNvSpPr>
            <a:spLocks noGrp="1"/>
          </p:cNvSpPr>
          <p:nvPr>
            <p:ph type="body" sz="quarter" idx="13" hasCustomPrompt="1"/>
          </p:nvPr>
        </p:nvSpPr>
        <p:spPr>
          <a:xfrm>
            <a:off x="269239" y="2084174"/>
            <a:ext cx="8964248" cy="2651239"/>
          </a:xfrm>
        </p:spPr>
        <p:txBody>
          <a:bodyPr/>
          <a:lstStyle>
            <a:lvl1pPr marL="228722" indent="-228722">
              <a:spcBef>
                <a:spcPts val="1175"/>
              </a:spcBef>
              <a:defRPr sz="2353">
                <a:solidFill>
                  <a:schemeClr val="bg1"/>
                </a:solidFill>
                <a:latin typeface="+mn-lt"/>
              </a:defRPr>
            </a:lvl1pPr>
            <a:lvl2pPr marL="676829" indent="-228722">
              <a:spcBef>
                <a:spcPts val="1175"/>
              </a:spcBef>
              <a:buSzPct val="100000"/>
              <a:buFont typeface="Segoe UI" pitchFamily="34" charset="0"/>
              <a:buChar char="‐"/>
              <a:defRPr sz="1961">
                <a:solidFill>
                  <a:schemeClr val="bg1"/>
                </a:solidFill>
              </a:defRPr>
            </a:lvl2pPr>
            <a:lvl3pPr marL="1124936" indent="-228722">
              <a:spcBef>
                <a:spcPts val="1175"/>
              </a:spcBef>
              <a:buFont typeface="Wingdings" pitchFamily="2" charset="2"/>
              <a:buChar char="§"/>
              <a:defRPr sz="1765">
                <a:solidFill>
                  <a:schemeClr val="bg1"/>
                </a:solidFill>
              </a:defRPr>
            </a:lvl3pPr>
            <a:lvl4pPr marL="1568375" indent="-336080">
              <a:spcBef>
                <a:spcPts val="1175"/>
              </a:spcBef>
              <a:buFont typeface="+mj-lt"/>
              <a:buAutoNum type="arabicPeriod"/>
              <a:defRPr sz="1567">
                <a:solidFill>
                  <a:schemeClr val="bg1"/>
                </a:solidFill>
              </a:defRPr>
            </a:lvl4pPr>
            <a:lvl5pPr marL="1907567" indent="-336080">
              <a:spcBef>
                <a:spcPts val="1175"/>
              </a:spcBef>
              <a:buFont typeface="+mj-lt"/>
              <a:buAutoNum type="alphaLcParenR"/>
              <a:defRPr sz="1567">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bg1"/>
                </a:solidFill>
              </a:defRPr>
            </a:lvl1pPr>
          </a:lstStyle>
          <a:p>
            <a:pPr marL="0" lvl="0">
              <a:lnSpc>
                <a:spcPts val="3528"/>
              </a:lnSpc>
              <a:spcBef>
                <a:spcPts val="847"/>
              </a:spcBef>
            </a:pPr>
            <a:r>
              <a:rPr lang="en-US"/>
              <a:t>Lorem ipsum dolor sit.</a:t>
            </a:r>
          </a:p>
        </p:txBody>
      </p:sp>
    </p:spTree>
    <p:extLst>
      <p:ext uri="{BB962C8B-B14F-4D97-AF65-F5344CB8AC3E}">
        <p14:creationId xmlns:p14="http://schemas.microsoft.com/office/powerpoint/2010/main" val="37632793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7"/>
            <a:ext cx="6283624" cy="4506419"/>
          </a:xfrm>
        </p:spPr>
        <p:txBody>
          <a:bodyPr/>
          <a:lstStyle>
            <a:lvl1pPr marL="0" indent="0">
              <a:lnSpc>
                <a:spcPts val="3332"/>
              </a:lnSpc>
              <a:spcBef>
                <a:spcPts val="3528"/>
              </a:spcBef>
              <a:buNone/>
              <a:defRPr sz="2941" baseline="0">
                <a:solidFill>
                  <a:schemeClr val="tx2"/>
                </a:solidFill>
                <a:latin typeface="+mj-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15068979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74331882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8pt 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4704" baseline="0">
                <a:solidFill>
                  <a:schemeClr val="accent1"/>
                </a:solidFill>
              </a:defRPr>
            </a:lvl1pPr>
          </a:lstStyle>
          <a:p>
            <a:r>
              <a:rPr lang="en-US"/>
              <a:t>Lorem ipsum dolor sit.</a:t>
            </a:r>
          </a:p>
        </p:txBody>
      </p:sp>
      <p:sp>
        <p:nvSpPr>
          <p:cNvPr id="6" name="Footer Placeholder 2"/>
          <p:cNvSpPr>
            <a:spLocks noGrp="1"/>
          </p:cNvSpPr>
          <p:nvPr>
            <p:ph type="ftr" sz="quarter" idx="10"/>
          </p:nvPr>
        </p:nvSpPr>
        <p:spPr>
          <a:xfrm>
            <a:off x="448212" y="6437243"/>
            <a:ext cx="3859607" cy="134483"/>
          </a:xfrm>
        </p:spPr>
        <p:txBody>
          <a:bodyPr/>
          <a:lstStyle/>
          <a:p>
            <a:endParaRPr dirty="0">
              <a:solidFill>
                <a:srgbClr val="505050"/>
              </a:solidFill>
            </a:endParaRPr>
          </a:p>
        </p:txBody>
      </p:sp>
      <p:sp>
        <p:nvSpPr>
          <p:cNvPr id="7" name="Slide Number Placeholder 3"/>
          <p:cNvSpPr>
            <a:spLocks noGrp="1"/>
          </p:cNvSpPr>
          <p:nvPr>
            <p:ph type="sldNum" sz="quarter" idx="11"/>
          </p:nvPr>
        </p:nvSpPr>
        <p:spPr>
          <a:xfrm>
            <a:off x="11367166" y="6437243"/>
            <a:ext cx="555596" cy="134483"/>
          </a:xfr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9918951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6pt Title 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3528">
                <a:solidFill>
                  <a:schemeClr val="accent1"/>
                </a:solidFill>
              </a:defRPr>
            </a:lvl1pPr>
          </a:lstStyle>
          <a:p>
            <a:pPr marL="0" lvl="0">
              <a:lnSpc>
                <a:spcPts val="3528"/>
              </a:lnSpc>
              <a:spcBef>
                <a:spcPts val="847"/>
              </a:spcBef>
            </a:pPr>
            <a:r>
              <a:rPr lang="en-US"/>
              <a:t>Lorem ipsum dolor sit.</a:t>
            </a:r>
          </a:p>
        </p:txBody>
      </p:sp>
      <p:sp>
        <p:nvSpPr>
          <p:cNvPr id="9" name="Footer Placeholder 2"/>
          <p:cNvSpPr>
            <a:spLocks noGrp="1"/>
          </p:cNvSpPr>
          <p:nvPr>
            <p:ph type="ftr" sz="quarter" idx="10"/>
          </p:nvPr>
        </p:nvSpPr>
        <p:spPr>
          <a:xfrm>
            <a:off x="448212" y="6437243"/>
            <a:ext cx="3859607" cy="134483"/>
          </a:xfrm>
        </p:spPr>
        <p:txBody>
          <a:bodyPr/>
          <a:lstStyle/>
          <a:p>
            <a:endParaRPr dirty="0">
              <a:solidFill>
                <a:srgbClr val="505050"/>
              </a:solidFill>
            </a:endParaRPr>
          </a:p>
        </p:txBody>
      </p:sp>
      <p:sp>
        <p:nvSpPr>
          <p:cNvPr id="10" name="Slide Number Placeholder 3"/>
          <p:cNvSpPr>
            <a:spLocks noGrp="1"/>
          </p:cNvSpPr>
          <p:nvPr>
            <p:ph type="sldNum" sz="quarter" idx="11"/>
          </p:nvPr>
        </p:nvSpPr>
        <p:spPr>
          <a:xfrm>
            <a:off x="11367166" y="6437243"/>
            <a:ext cx="555596" cy="134483"/>
          </a:xfr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4985730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6"/>
            <a:ext cx="6274974" cy="714683"/>
          </a:xfrm>
        </p:spPr>
        <p:txBody>
          <a:bodyPr lIns="182880" rIns="182880"/>
          <a:lstStyle>
            <a:lvl1pPr marL="0" indent="0">
              <a:buFontTx/>
              <a:buNone/>
              <a:defRPr sz="3528">
                <a:solidFill>
                  <a:schemeClr val="tx2"/>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12" name="Title 4"/>
          <p:cNvSpPr>
            <a:spLocks noGrp="1"/>
          </p:cNvSpPr>
          <p:nvPr>
            <p:ph type="title"/>
          </p:nvPr>
        </p:nvSpPr>
        <p:spPr>
          <a:xfrm>
            <a:off x="269242" y="365781"/>
            <a:ext cx="6274967" cy="450815"/>
          </a:xfrm>
        </p:spPr>
        <p:txBody>
          <a:bodyPr vert="horz" wrap="square" lIns="182880" tIns="146304" rIns="182880" bIns="146304" rtlCol="0" anchor="ctr" anchorCtr="0">
            <a:noAutofit/>
          </a:bodyPr>
          <a:lstStyle>
            <a:lvl1pPr>
              <a:defRPr lang="en-US" sz="2353" spc="0">
                <a:cs typeface="+mn-cs"/>
              </a:defRPr>
            </a:lvl1pPr>
          </a:lstStyle>
          <a:p>
            <a:pPr marL="0" marR="0" lvl="0" indent="0" fontAlgn="auto">
              <a:lnSpc>
                <a:spcPts val="2745"/>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41178413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1" indent="0">
              <a:lnSpc>
                <a:spcPts val="1420"/>
              </a:lnSpc>
              <a:spcBef>
                <a:spcPts val="0"/>
              </a:spcBef>
              <a:spcAft>
                <a:spcPts val="1175"/>
              </a:spcAft>
              <a:buNone/>
              <a:defRPr sz="1273" b="1"/>
            </a:lvl2pPr>
          </a:lstStyle>
          <a:p>
            <a:pPr lvl="0"/>
            <a:r>
              <a:rPr lang="en-US"/>
              <a:t>Click to edit Master text styles</a:t>
            </a:r>
          </a:p>
          <a:p>
            <a:pPr lvl="1"/>
            <a:r>
              <a:rPr lang="en-US"/>
              <a:t>Second level</a:t>
            </a:r>
          </a:p>
        </p:txBody>
      </p:sp>
      <p:sp>
        <p:nvSpPr>
          <p:cNvPr id="6" name="Title 3"/>
          <p:cNvSpPr>
            <a:spLocks noGrp="1"/>
          </p:cNvSpPr>
          <p:nvPr>
            <p:ph type="title"/>
          </p:nvPr>
        </p:nvSpPr>
        <p:spPr>
          <a:xfrm>
            <a:off x="269242" y="348575"/>
            <a:ext cx="6274973" cy="617619"/>
          </a:xfrm>
        </p:spPr>
        <p:txBody>
          <a:bodyPr vert="horz" wrap="square" lIns="146304" tIns="109728" rIns="146304" bIns="109728" rtlCol="0" anchor="t" anchorCtr="0">
            <a:noAutofit/>
          </a:bodyPr>
          <a:lstStyle>
            <a:lvl1pPr>
              <a:defRPr lang="en-US" sz="3528" spc="0">
                <a:cs typeface="+mn-cs"/>
              </a:defRPr>
            </a:lvl1pPr>
          </a:lstStyle>
          <a:p>
            <a:pPr marL="0" marR="0" lvl="0" indent="0" fontAlgn="auto">
              <a:lnSpc>
                <a:spcPts val="3528"/>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23952467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815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6pt Header">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5" name="Title 3"/>
          <p:cNvSpPr>
            <a:spLocks noGrp="1"/>
          </p:cNvSpPr>
          <p:nvPr>
            <p:ph type="title"/>
          </p:nvPr>
        </p:nvSpPr>
        <p:spPr>
          <a:xfrm>
            <a:off x="269242" y="348575"/>
            <a:ext cx="6274973" cy="617619"/>
          </a:xfrm>
        </p:spPr>
        <p:txBody>
          <a:bodyPr vert="horz" wrap="square" lIns="146304" tIns="109728" rIns="146304" bIns="109728" rtlCol="0" anchor="t" anchorCtr="0">
            <a:noAutofit/>
          </a:bodyPr>
          <a:lstStyle>
            <a:lvl1pPr>
              <a:defRPr lang="en-US" sz="3528" spc="0">
                <a:cs typeface="+mn-cs"/>
              </a:defRPr>
            </a:lvl1pPr>
          </a:lstStyle>
          <a:p>
            <a:pPr marL="0" marR="0" lvl="0" indent="0" fontAlgn="auto">
              <a:lnSpc>
                <a:spcPts val="3528"/>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41981444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38161"/>
          </a:xfrm>
        </p:spPr>
        <p:txBody>
          <a:bodyPr lIns="182880"/>
          <a:lstStyle>
            <a:lvl1pPr marL="0" indent="0">
              <a:buFontTx/>
              <a:buNone/>
              <a:defRPr sz="2353">
                <a:solidFill>
                  <a:schemeClr val="tx2"/>
                </a:soli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10" name="Title 3"/>
          <p:cNvSpPr>
            <a:spLocks noGrp="1"/>
          </p:cNvSpPr>
          <p:nvPr>
            <p:ph type="title"/>
          </p:nvPr>
        </p:nvSpPr>
        <p:spPr>
          <a:xfrm>
            <a:off x="269240" y="348575"/>
            <a:ext cx="8067798" cy="617619"/>
          </a:xfrm>
        </p:spPr>
        <p:txBody>
          <a:bodyPr vert="horz" wrap="square" lIns="146304" tIns="109728" rIns="146304" bIns="109728" rtlCol="0" anchor="t" anchorCtr="0">
            <a:noAutofit/>
          </a:bodyPr>
          <a:lstStyle>
            <a:lvl1pPr>
              <a:defRPr lang="en-US" sz="3528" spc="0">
                <a:cs typeface="+mn-cs"/>
              </a:defRPr>
            </a:lvl1pPr>
          </a:lstStyle>
          <a:p>
            <a:pPr marL="0" marR="0" lvl="0" indent="0" fontAlgn="auto">
              <a:lnSpc>
                <a:spcPts val="3528"/>
              </a:lnSpc>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5767840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7361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3"/>
            <a:ext cx="4930336" cy="2006703"/>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5849090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5" name="Title 3"/>
          <p:cNvSpPr>
            <a:spLocks noGrp="1"/>
          </p:cNvSpPr>
          <p:nvPr>
            <p:ph type="title"/>
          </p:nvPr>
        </p:nvSpPr>
        <p:spPr>
          <a:xfrm>
            <a:off x="269242" y="368326"/>
            <a:ext cx="6274967" cy="448271"/>
          </a:xfrm>
        </p:spPr>
        <p:txBody>
          <a:bodyPr vert="horz" wrap="square" lIns="182880" tIns="146304" rIns="182880" bIns="146304" rtlCol="0" anchor="ctr" anchorCtr="0">
            <a:noAutofit/>
          </a:bodyPr>
          <a:lstStyle>
            <a:lvl1pPr>
              <a:defRPr lang="en-US" sz="2353" spc="0">
                <a:cs typeface="+mn-cs"/>
              </a:defRPr>
            </a:lvl1pPr>
          </a:lstStyle>
          <a:p>
            <a:pPr marL="0" marR="0" lvl="0" indent="0" fontAlgn="auto">
              <a:lnSpc>
                <a:spcPts val="2745"/>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3064641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3" y="1470576"/>
            <a:ext cx="8082585" cy="832757"/>
          </a:xfrm>
        </p:spPr>
        <p:txBody>
          <a:bodyPr lIns="146304" tIns="91440" rIns="146304" bIns="91440"/>
          <a:lstStyle>
            <a:lvl1pPr marL="0" indent="0">
              <a:lnSpc>
                <a:spcPct val="90000"/>
              </a:lnSpc>
              <a:buFontTx/>
              <a:buNone/>
              <a:defRPr sz="4704">
                <a:solidFill>
                  <a:schemeClr val="tx2"/>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3"/>
          <p:cNvSpPr>
            <a:spLocks noGrp="1"/>
          </p:cNvSpPr>
          <p:nvPr>
            <p:ph type="title"/>
          </p:nvPr>
        </p:nvSpPr>
        <p:spPr>
          <a:xfrm>
            <a:off x="269242" y="368326"/>
            <a:ext cx="6274967" cy="448271"/>
          </a:xfrm>
        </p:spPr>
        <p:txBody>
          <a:bodyPr vert="horz" wrap="square" lIns="182880" tIns="146304" rIns="182880" bIns="146304" rtlCol="0" anchor="ctr" anchorCtr="0">
            <a:noAutofit/>
          </a:bodyPr>
          <a:lstStyle>
            <a:lvl1pPr>
              <a:defRPr lang="en-US" sz="2353" spc="0">
                <a:cs typeface="+mn-cs"/>
              </a:defRPr>
            </a:lvl1pPr>
          </a:lstStyle>
          <a:p>
            <a:pPr marL="0" marR="0" lvl="0" indent="0" fontAlgn="auto">
              <a:lnSpc>
                <a:spcPts val="2745"/>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04402356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Segoe Pro"/>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
        <p:nvSpPr>
          <p:cNvPr id="13" name="Title 3"/>
          <p:cNvSpPr>
            <a:spLocks noGrp="1"/>
          </p:cNvSpPr>
          <p:nvPr>
            <p:ph type="title"/>
          </p:nvPr>
        </p:nvSpPr>
        <p:spPr>
          <a:xfrm>
            <a:off x="269242" y="368326"/>
            <a:ext cx="6274967" cy="448271"/>
          </a:xfrm>
        </p:spPr>
        <p:txBody>
          <a:bodyPr vert="horz" wrap="square" lIns="182880" tIns="146304" rIns="182880" bIns="146304" rtlCol="0" anchor="ctr" anchorCtr="0">
            <a:noAutofit/>
          </a:bodyPr>
          <a:lstStyle>
            <a:lvl1pPr>
              <a:defRPr lang="en-US" sz="2353" spc="0">
                <a:cs typeface="+mn-cs"/>
              </a:defRPr>
            </a:lvl1pPr>
          </a:lstStyle>
          <a:p>
            <a:pPr marL="0" marR="0" lvl="0" indent="0" fontAlgn="auto">
              <a:lnSpc>
                <a:spcPts val="2745"/>
              </a:lnSpc>
              <a:spcBef>
                <a:spcPts val="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234334297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099856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5" name="Title 9"/>
          <p:cNvSpPr>
            <a:spLocks noGrp="1"/>
          </p:cNvSpPr>
          <p:nvPr>
            <p:ph type="title"/>
          </p:nvPr>
        </p:nvSpPr>
        <p:spPr>
          <a:xfrm>
            <a:off x="269240" y="2080953"/>
            <a:ext cx="11655840" cy="1793104"/>
          </a:xfrm>
        </p:spPr>
        <p:txBody>
          <a:bodyPr vert="horz" wrap="square" lIns="146304" tIns="91440" rIns="146304" bIns="91440" rtlCol="0">
            <a:noAutofit/>
          </a:bodyPr>
          <a:lstStyle>
            <a:lvl1pPr>
              <a:defRPr lang="en-US" sz="8626" spc="0">
                <a:solidFill>
                  <a:schemeClr val="bg1"/>
                </a:solidFill>
                <a:cs typeface="+mn-cs"/>
              </a:defRPr>
            </a:lvl1pPr>
          </a:lstStyle>
          <a:p>
            <a:pPr marL="0" marR="0" lvl="0" indent="0" fontAlgn="auto">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74369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5" name="Title 4"/>
          <p:cNvSpPr>
            <a:spLocks noGrp="1"/>
          </p:cNvSpPr>
          <p:nvPr>
            <p:ph type="title"/>
          </p:nvPr>
        </p:nvSpPr>
        <p:spPr>
          <a:xfrm>
            <a:off x="269240" y="289511"/>
            <a:ext cx="11655840" cy="1794662"/>
          </a:xfrm>
        </p:spPr>
        <p:txBody>
          <a:bodyPr vert="horz" wrap="square" lIns="146304" tIns="91440" rIns="146304" bIns="91440" rtlCol="0">
            <a:noAutofit/>
          </a:bodyPr>
          <a:lstStyle>
            <a:lvl1pPr>
              <a:defRPr lang="en-US" spc="0">
                <a:solidFill>
                  <a:schemeClr val="bg1"/>
                </a:solidFill>
                <a:cs typeface="+mn-cs"/>
              </a:defRPr>
            </a:lvl1pPr>
          </a:lstStyle>
          <a:p>
            <a:pPr marL="0" marR="0" lvl="0" indent="0" fontAlgn="auto">
              <a:spcBef>
                <a:spcPct val="20000"/>
              </a:spcBef>
              <a:spcAft>
                <a:spcPts val="0"/>
              </a:spcAft>
              <a:buClrTx/>
              <a:buSzPct val="90000"/>
              <a:buFontTx/>
              <a:tabLst/>
            </a:pPr>
            <a:r>
              <a:rPr lang="en-US"/>
              <a:t>Click to edit Master title style</a:t>
            </a:r>
          </a:p>
        </p:txBody>
      </p:sp>
    </p:spTree>
    <p:extLst>
      <p:ext uri="{BB962C8B-B14F-4D97-AF65-F5344CB8AC3E}">
        <p14:creationId xmlns:p14="http://schemas.microsoft.com/office/powerpoint/2010/main" val="37270916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4723480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74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333277" y="5019686"/>
            <a:ext cx="3223861" cy="690695"/>
          </a:xfrm>
          <a:prstGeom prst="rect">
            <a:avLst/>
          </a:prstGeom>
        </p:spPr>
      </p:pic>
    </p:spTree>
    <p:extLst>
      <p:ext uri="{BB962C8B-B14F-4D97-AF65-F5344CB8AC3E}">
        <p14:creationId xmlns:p14="http://schemas.microsoft.com/office/powerpoint/2010/main" val="33178931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77783709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62270" y="474236"/>
            <a:ext cx="1775509" cy="380393"/>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pic>
        <p:nvPicPr>
          <p:cNvPr id="5" name="Picture 4"/>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398793" y="6061767"/>
            <a:ext cx="1522404" cy="326167"/>
          </a:xfrm>
          <a:prstGeom prst="rect">
            <a:avLst/>
          </a:prstGeom>
        </p:spPr>
      </p:pic>
    </p:spTree>
    <p:extLst>
      <p:ext uri="{BB962C8B-B14F-4D97-AF65-F5344CB8AC3E}">
        <p14:creationId xmlns:p14="http://schemas.microsoft.com/office/powerpoint/2010/main" val="80024507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5937" r="3431" b="2608"/>
          <a:stretch/>
        </p:blipFill>
        <p:spPr>
          <a:xfrm>
            <a:off x="2" y="-7783"/>
            <a:ext cx="12221569" cy="6873565"/>
          </a:xfrm>
          <a:prstGeom prst="rect">
            <a:avLst/>
          </a:prstGeom>
        </p:spPr>
      </p:pic>
      <p:sp>
        <p:nvSpPr>
          <p:cNvPr id="19" name="Dark gradation top"/>
          <p:cNvSpPr/>
          <p:nvPr/>
        </p:nvSpPr>
        <p:spPr bwMode="gray">
          <a:xfrm>
            <a:off x="1"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p:nvSpPr>
        <p:spPr bwMode="gray">
          <a:xfrm>
            <a:off x="269241"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4172"/>
            <a:ext cx="5903019"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41" y="4146242"/>
            <a:ext cx="5901462"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1292981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1029564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7"/>
            <a:ext cx="806776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9322" y="6061767"/>
            <a:ext cx="1522404" cy="326167"/>
          </a:xfrm>
          <a:prstGeom prst="rect">
            <a:avLst/>
          </a:prstGeom>
        </p:spPr>
      </p:pic>
    </p:spTree>
    <p:extLst>
      <p:ext uri="{BB962C8B-B14F-4D97-AF65-F5344CB8AC3E}">
        <p14:creationId xmlns:p14="http://schemas.microsoft.com/office/powerpoint/2010/main" val="191716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p:nvSpPr>
        <p:spPr bwMode="auto">
          <a:xfrm>
            <a:off x="269303"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067822"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8067813"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79738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p:nvSpPr>
        <p:spPr bwMode="auto">
          <a:xfrm>
            <a:off x="269303"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067822"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32305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94994921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1517811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391500380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044919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0303292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377861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4330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35234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48729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41078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51247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020580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57994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descr="Microsoft logo, gray text version">
            <a:extLst>
              <a:ext uri="{FF2B5EF4-FFF2-40B4-BE49-F238E27FC236}">
                <a16:creationId xmlns:a16="http://schemas.microsoft.com/office/drawing/2014/main" id="{77D9F43C-9ED7-406B-964E-3332E7F361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29591" y="438484"/>
            <a:ext cx="1046546" cy="224138"/>
          </a:xfrm>
          <a:prstGeom prst="rect">
            <a:avLst/>
          </a:prstGeom>
        </p:spPr>
      </p:pic>
    </p:spTree>
    <p:extLst>
      <p:ext uri="{BB962C8B-B14F-4D97-AF65-F5344CB8AC3E}">
        <p14:creationId xmlns:p14="http://schemas.microsoft.com/office/powerpoint/2010/main" val="1632759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prstGeom prst="rect">
            <a:avLst/>
          </a:prstGeo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7113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15587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7362940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94666728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341572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63974523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94129482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2452504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spTree>
    <p:extLst>
      <p:ext uri="{BB962C8B-B14F-4D97-AF65-F5344CB8AC3E}">
        <p14:creationId xmlns:p14="http://schemas.microsoft.com/office/powerpoint/2010/main" val="415232392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301807857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1"/>
            <a:ext cx="5378549" cy="267785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2" y="4773830"/>
            <a:ext cx="53772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48214" y="6061767"/>
            <a:ext cx="1522404" cy="326167"/>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1536" t="114" r="36245" b="-114"/>
          <a:stretch/>
        </p:blipFill>
        <p:spPr>
          <a:xfrm>
            <a:off x="6170701" y="2"/>
            <a:ext cx="6050868" cy="6857999"/>
          </a:xfrm>
          <a:prstGeom prst="rect">
            <a:avLst/>
          </a:prstGeom>
        </p:spPr>
      </p:pic>
    </p:spTree>
    <p:extLst>
      <p:ext uri="{BB962C8B-B14F-4D97-AF65-F5344CB8AC3E}">
        <p14:creationId xmlns:p14="http://schemas.microsoft.com/office/powerpoint/2010/main" val="32528924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prstGeom prst="rect">
            <a:avLst/>
          </a:prstGeo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29600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723114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389025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29339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711721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027100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3831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5591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596619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9ED7"/>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userDrawn="1"/>
        </p:nvSpPr>
        <p:spPr bwMode="white">
          <a:xfrm>
            <a:off x="624"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Tree>
    <p:extLst>
      <p:ext uri="{BB962C8B-B14F-4D97-AF65-F5344CB8AC3E}">
        <p14:creationId xmlns:p14="http://schemas.microsoft.com/office/powerpoint/2010/main" val="23150486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p:ext uri="{DCECCB84-F9BA-43D5-87BE-67443E8EF086}">
      <p15:sldGuideLst xmlns:p15="http://schemas.microsoft.com/office/powerpoint/2012/main">
        <p15:guide id="1" orient="horz" pos="440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61496911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prstGeom prst="rect">
            <a:avLst/>
          </a:prstGeo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7101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0"/>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229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398793" y="6061767"/>
            <a:ext cx="1522404" cy="326167"/>
          </a:xfrm>
          <a:prstGeom prst="rect">
            <a:avLst/>
          </a:prstGeom>
        </p:spPr>
      </p:pic>
      <p:pic>
        <p:nvPicPr>
          <p:cNvPr id="3" name="Picture 2"/>
          <p:cNvPicPr>
            <a:picLocks noChangeAspect="1"/>
          </p:cNvPicPr>
          <p:nvPr userDrawn="1"/>
        </p:nvPicPr>
        <p:blipFill>
          <a:blip r:embed="rId5">
            <a:lum bright="100000"/>
          </a:blip>
          <a:stretch>
            <a:fillRect/>
          </a:stretch>
        </p:blipFill>
        <p:spPr>
          <a:xfrm>
            <a:off x="448214" y="415014"/>
            <a:ext cx="7007731" cy="1324391"/>
          </a:xfrm>
          <a:prstGeom prst="rect">
            <a:avLst/>
          </a:prstGeom>
        </p:spPr>
      </p:pic>
    </p:spTree>
    <p:extLst>
      <p:ext uri="{BB962C8B-B14F-4D97-AF65-F5344CB8AC3E}">
        <p14:creationId xmlns:p14="http://schemas.microsoft.com/office/powerpoint/2010/main" val="415327756"/>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932800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
        <p:nvSpPr>
          <p:cNvPr id="7"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8547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184683"/>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690182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2418462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3698290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880911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94476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2334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a:prstGeom prst="rect">
            <a:avLst/>
          </a:prstGeo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8490745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830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7942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62674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203648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951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79221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9470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337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1417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5236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a:prstGeom prst="rect">
            <a:avLst/>
          </a:prstGeo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6773015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64962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8298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697567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59075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28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117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8977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97393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7707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57094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a:prstGeom prst="rect">
            <a:avLst/>
          </a:prstGeo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a:prstGeom prst="rect">
            <a:avLst/>
          </a:prstGeo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1775127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234531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774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7277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9881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13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6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8480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87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8777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5322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0343826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2_features title and subhead">
    <p:spTree>
      <p:nvGrpSpPr>
        <p:cNvPr id="1" name=""/>
        <p:cNvGrpSpPr/>
        <p:nvPr/>
      </p:nvGrpSpPr>
      <p:grpSpPr>
        <a:xfrm>
          <a:off x="0" y="0"/>
          <a:ext cx="0" cy="0"/>
          <a:chOff x="0" y="0"/>
          <a:chExt cx="0" cy="0"/>
        </a:xfrm>
      </p:grpSpPr>
      <p:sp>
        <p:nvSpPr>
          <p:cNvPr id="8" name="Title 5"/>
          <p:cNvSpPr>
            <a:spLocks noGrp="1"/>
          </p:cNvSpPr>
          <p:nvPr>
            <p:ph type="title"/>
          </p:nvPr>
        </p:nvSpPr>
        <p:spPr>
          <a:xfrm>
            <a:off x="269241" y="289513"/>
            <a:ext cx="11655078" cy="899665"/>
          </a:xfrm>
        </p:spPr>
        <p:txBody>
          <a:bodyPr/>
          <a:lstStyle>
            <a:lvl1pPr>
              <a:defRPr sz="4400"/>
            </a:lvl1pPr>
          </a:lstStyle>
          <a:p>
            <a:r>
              <a:rPr lang="en-US"/>
              <a:t>Click to edit Master title style</a:t>
            </a:r>
          </a:p>
        </p:txBody>
      </p:sp>
      <p:sp>
        <p:nvSpPr>
          <p:cNvPr id="6" name="Text Placeholder 3"/>
          <p:cNvSpPr>
            <a:spLocks noGrp="1"/>
          </p:cNvSpPr>
          <p:nvPr>
            <p:ph type="body" sz="quarter" idx="10" hasCustomPrompt="1"/>
          </p:nvPr>
        </p:nvSpPr>
        <p:spPr>
          <a:xfrm>
            <a:off x="269240" y="10150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83330743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538135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17180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9044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0550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1588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3442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706424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5573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0744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chemeClr val="bg1"/>
                </a:solidFill>
              </a:defRPr>
            </a:lvl1pPr>
          </a:lstStyle>
          <a:p>
            <a:r>
              <a:rPr lang="en-US"/>
              <a:t>Title</a:t>
            </a:r>
          </a:p>
        </p:txBody>
      </p:sp>
    </p:spTree>
    <p:extLst>
      <p:ext uri="{BB962C8B-B14F-4D97-AF65-F5344CB8AC3E}">
        <p14:creationId xmlns:p14="http://schemas.microsoft.com/office/powerpoint/2010/main" val="303960180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7433055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18056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4020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7625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0877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3857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52818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22302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991274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0040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a:prstGeom prst="rect">
            <a:avLst/>
          </a:prstGeo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04385773"/>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1/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378430611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192662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1/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14490967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90876192"/>
      </p:ext>
    </p:extLst>
  </p:cSld>
  <p:clrMapOvr>
    <a:masterClrMapping/>
  </p:clrMapOvr>
  <p:transition>
    <p:fade/>
  </p:transition>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9903992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88792006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3360917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6160047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27786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9866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prstGeom prst="rect">
            <a:avLst/>
          </a:prstGeo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prstGeom prst="rect">
            <a:avLst/>
          </a:prstGeo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a:prstGeom prst="rect">
            <a:avLst/>
          </a:prstGeo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21467576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9890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964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8355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431009" y="6437376"/>
            <a:ext cx="1571263" cy="261610"/>
          </a:xfrm>
          <a:prstGeom prst="rect">
            <a:avLst/>
          </a:prstGeom>
        </p:spPr>
        <p:txBody>
          <a:bodyPr wrap="none">
            <a:spAutoFit/>
          </a:bodyPr>
          <a:lstStyle/>
          <a:p>
            <a:pPr algn="r" defTabSz="914225"/>
            <a:r>
              <a:rPr lang="en-US" sz="1100" b="0" kern="1200" spc="0" dirty="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189900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7727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45311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13911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84000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2537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9233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5C2034CC-1A7F-4324-BC45-4A556F1BC5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29545" y="438438"/>
            <a:ext cx="1048727" cy="224637"/>
          </a:xfrm>
          <a:prstGeom prst="rect">
            <a:avLst/>
          </a:prstGeom>
        </p:spPr>
      </p:pic>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14025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a:prstGeom prst="rect">
            <a:avLst/>
          </a:prstGeo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a:prstGeom prst="rect">
            <a:avLst/>
          </a:prstGeo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42314447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9670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83650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68435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282776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176379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28216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34124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3024070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786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031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a:prstGeom prst="rect">
            <a:avLst/>
          </a:prstGeo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216824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4536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078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5492724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54477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3923393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1963455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7662755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1656389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9715501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27964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a:prstGeom prst="rect">
            <a:avLst/>
          </a:prstGeo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a:prstGeom prst="rect">
            <a:avLst/>
          </a:prstGeo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a:prstGeom prst="rect">
            <a:avLst/>
          </a:prstGeo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78799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3864484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2008278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908247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14471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7932770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6130823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8196970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31760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0982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4592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a:prstGeom prst="rect">
            <a:avLst/>
          </a:prstGeo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692898823"/>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30898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4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7375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1425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211693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943450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117554065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36144157"/>
      </p:ext>
    </p:extLst>
  </p:cSld>
  <p:clrMapOvr>
    <a:masterClrMapping/>
  </p:clrMapOvr>
  <p:transition>
    <p:fade/>
  </p:transition>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039687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371862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1831467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22959489"/>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5890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56918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26595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8840502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0300485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loopingbg-01">
            <a:hlinkClick r:id="" action="ppaction://media"/>
            <a:extLst>
              <a:ext uri="{FF2B5EF4-FFF2-40B4-BE49-F238E27FC236}">
                <a16:creationId xmlns:a16="http://schemas.microsoft.com/office/drawing/2014/main" id="{C6979CCC-251B-4CD2-B6D1-68625A53780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68874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childTnLst>
        </p:cTn>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p:spPr>
        <p:txBody>
          <a:bodyPr/>
          <a:lstStyle/>
          <a:p>
            <a:r>
              <a:rPr lang="en-US"/>
              <a:t>Click to edit Master title style</a:t>
            </a:r>
          </a:p>
        </p:txBody>
      </p:sp>
    </p:spTree>
    <p:extLst>
      <p:ext uri="{BB962C8B-B14F-4D97-AF65-F5344CB8AC3E}">
        <p14:creationId xmlns:p14="http://schemas.microsoft.com/office/powerpoint/2010/main" val="20986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482657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335571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7829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24801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46311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2178493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165602" y="6264282"/>
            <a:ext cx="3860800" cy="365125"/>
          </a:xfrm>
          <a:prstGeom prst="rect">
            <a:avLst/>
          </a:prstGeom>
        </p:spPr>
        <p:txBody>
          <a:bodyPr vert="horz" lIns="91440" tIns="45720" rIns="91440" bIns="45720" rtlCol="0" anchor="b"/>
          <a:lstStyle>
            <a:lvl1pPr algn="ctr">
              <a:defRPr sz="800">
                <a:solidFill>
                  <a:schemeClr val="tx2"/>
                </a:solidFill>
              </a:defRPr>
            </a:lvl1pPr>
          </a:lstStyle>
          <a:p>
            <a:pPr defTabSz="913468">
              <a:defRPr/>
            </a:pPr>
            <a:endParaRPr lang="en-US">
              <a:solidFill>
                <a:srgbClr val="505050"/>
              </a:solidFill>
            </a:endParaRPr>
          </a:p>
        </p:txBody>
      </p:sp>
      <p:sp>
        <p:nvSpPr>
          <p:cNvPr id="7" name="Slide Number Placeholder 5"/>
          <p:cNvSpPr>
            <a:spLocks noGrp="1"/>
          </p:cNvSpPr>
          <p:nvPr>
            <p:ph type="sldNum" sz="quarter" idx="4"/>
          </p:nvPr>
        </p:nvSpPr>
        <p:spPr>
          <a:xfrm>
            <a:off x="8026402" y="6264282"/>
            <a:ext cx="3860800" cy="365125"/>
          </a:xfrm>
          <a:prstGeom prst="rect">
            <a:avLst/>
          </a:prstGeom>
        </p:spPr>
        <p:txBody>
          <a:bodyPr vert="horz" lIns="91440" tIns="45720" rIns="91440" bIns="45720" rtlCol="0" anchor="b"/>
          <a:lstStyle>
            <a:lvl1pPr algn="r">
              <a:defRPr sz="800">
                <a:solidFill>
                  <a:schemeClr val="tx2"/>
                </a:solidFill>
              </a:defRPr>
            </a:lvl1pPr>
          </a:lstStyle>
          <a:p>
            <a:pPr defTabSz="913468">
              <a:defRPr/>
            </a:pPr>
            <a:fld id="{FE8F78AB-F42F-4814-9F13-9D3CFCC3597B}" type="slidenum">
              <a:rPr lang="en-US" smtClean="0">
                <a:solidFill>
                  <a:srgbClr val="505050"/>
                </a:solidFill>
              </a:rPr>
              <a:pPr defTabSz="913468">
                <a:defRPr/>
              </a:pPr>
              <a:t>‹#›</a:t>
            </a:fld>
            <a:endParaRPr lang="en-US">
              <a:solidFill>
                <a:srgbClr val="505050"/>
              </a:solidFill>
            </a:endParaRPr>
          </a:p>
        </p:txBody>
      </p:sp>
      <p:sp>
        <p:nvSpPr>
          <p:cNvPr id="2" name="Rectangle 1"/>
          <p:cNvSpPr/>
          <p:nvPr userDrawn="1"/>
        </p:nvSpPr>
        <p:spPr>
          <a:xfrm>
            <a:off x="2"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8"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168166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D501D5A-0F32-4DE3-80A8-48BE1976D4BD}"/>
              </a:ext>
            </a:extLst>
          </p:cNvPr>
          <p:cNvGrpSpPr/>
          <p:nvPr userDrawn="1"/>
        </p:nvGrpSpPr>
        <p:grpSpPr>
          <a:xfrm>
            <a:off x="-1" y="0"/>
            <a:ext cx="12192001" cy="6858000"/>
            <a:chOff x="0" y="0"/>
            <a:chExt cx="12436476" cy="6994525"/>
          </a:xfrm>
        </p:grpSpPr>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2"/>
            <a:srcRect t="4112" r="7055" b="32576"/>
            <a:stretch/>
          </p:blipFill>
          <p:spPr>
            <a:xfrm>
              <a:off x="5589573" y="0"/>
              <a:ext cx="6846903" cy="6994525"/>
            </a:xfrm>
            <a:prstGeom prst="rect">
              <a:avLst/>
            </a:prstGeom>
          </p:spPr>
        </p:pic>
        <p:pic>
          <p:nvPicPr>
            <p:cNvPr id="5" name="Picture 4">
              <a:extLst>
                <a:ext uri="{FF2B5EF4-FFF2-40B4-BE49-F238E27FC236}">
                  <a16:creationId xmlns:a16="http://schemas.microsoft.com/office/drawing/2014/main" id="{A3D3BE14-FB82-439E-BF4C-E0A611FC842F}"/>
                </a:ext>
                <a:ext uri="{C183D7F6-B498-43B3-948B-1728B52AA6E4}">
                  <adec:decorative xmlns:adec="http://schemas.microsoft.com/office/drawing/2017/decorative" val="1"/>
                </a:ext>
              </a:extLst>
            </p:cNvPr>
            <p:cNvPicPr>
              <a:picLocks noChangeAspect="1"/>
            </p:cNvPicPr>
            <p:nvPr userDrawn="1"/>
          </p:nvPicPr>
          <p:blipFill rotWithShape="1">
            <a:blip r:embed="rId2"/>
            <a:srcRect l="1" t="4112" r="83721" b="32576"/>
            <a:stretch/>
          </p:blipFill>
          <p:spPr>
            <a:xfrm>
              <a:off x="0" y="0"/>
              <a:ext cx="5810249" cy="6994525"/>
            </a:xfrm>
            <a:prstGeom prst="rect">
              <a:avLst/>
            </a:prstGeom>
          </p:spPr>
        </p:pic>
      </p:gr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white">
          <a:xfrm>
            <a:off x="584201" y="585789"/>
            <a:ext cx="1366245" cy="292608"/>
          </a:xfrm>
          <a:prstGeom prst="rect">
            <a:avLst/>
          </a:prstGeom>
        </p:spPr>
      </p:pic>
    </p:spTree>
    <p:extLst>
      <p:ext uri="{BB962C8B-B14F-4D97-AF65-F5344CB8AC3E}">
        <p14:creationId xmlns:p14="http://schemas.microsoft.com/office/powerpoint/2010/main" val="1167856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86768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20597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0267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437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hank you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spTree>
    <p:extLst>
      <p:ext uri="{BB962C8B-B14F-4D97-AF65-F5344CB8AC3E}">
        <p14:creationId xmlns:p14="http://schemas.microsoft.com/office/powerpoint/2010/main" val="2361346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Tree>
    <p:extLst>
      <p:ext uri="{BB962C8B-B14F-4D97-AF65-F5344CB8AC3E}">
        <p14:creationId xmlns:p14="http://schemas.microsoft.com/office/powerpoint/2010/main" val="774094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25161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7" y="1202873"/>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894263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46095674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1084111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8681991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807996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3"/>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761055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7"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2"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079386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8"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8"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800456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1361455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28778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850055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0167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443942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3"/>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6" y="437137"/>
            <a:ext cx="896425" cy="190218"/>
          </a:xfrm>
          <a:prstGeom prst="rect">
            <a:avLst/>
          </a:prstGeom>
        </p:spPr>
      </p:pic>
    </p:spTree>
    <p:extLst>
      <p:ext uri="{BB962C8B-B14F-4D97-AF65-F5344CB8AC3E}">
        <p14:creationId xmlns:p14="http://schemas.microsoft.com/office/powerpoint/2010/main" val="2954410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3"/>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3" y="437140"/>
            <a:ext cx="896425" cy="191140"/>
          </a:xfrm>
          <a:prstGeom prst="rect">
            <a:avLst/>
          </a:prstGeom>
        </p:spPr>
      </p:pic>
    </p:spTree>
    <p:extLst>
      <p:ext uri="{BB962C8B-B14F-4D97-AF65-F5344CB8AC3E}">
        <p14:creationId xmlns:p14="http://schemas.microsoft.com/office/powerpoint/2010/main" val="2615356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599440" y="2913426"/>
            <a:ext cx="2788943" cy="1408176"/>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3" y="0"/>
            <a:ext cx="6712307" cy="6858000"/>
          </a:xfrm>
          <a:prstGeom prst="rect">
            <a:avLst/>
          </a:prstGeom>
        </p:spPr>
      </p:pic>
    </p:spTree>
    <p:extLst>
      <p:ext uri="{BB962C8B-B14F-4D97-AF65-F5344CB8AC3E}">
        <p14:creationId xmlns:p14="http://schemas.microsoft.com/office/powerpoint/2010/main" val="1418794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189778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485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742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010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486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8455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42799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Tree>
    <p:extLst>
      <p:ext uri="{BB962C8B-B14F-4D97-AF65-F5344CB8AC3E}">
        <p14:creationId xmlns:p14="http://schemas.microsoft.com/office/powerpoint/2010/main" val="3585214131"/>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55286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4773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57576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2594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28462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223392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67279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6932956"/>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446276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3344070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175870964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55217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59449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418212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0449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0199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48207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9452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7958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3762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6196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7901282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092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90292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43381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7692512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6D50020-A946-944F-871E-3226778A7F6D}"/>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3" y="1"/>
            <a:ext cx="12193853" cy="6857999"/>
          </a:xfrm>
          <a:prstGeom prst="rect">
            <a:avLst/>
          </a:prstGeom>
          <a:solidFill>
            <a:schemeClr val="tx1"/>
          </a:solidFill>
        </p:spPr>
      </p:pic>
      <p:sp>
        <p:nvSpPr>
          <p:cNvPr id="9" name="Rectangle 8">
            <a:extLst>
              <a:ext uri="{FF2B5EF4-FFF2-40B4-BE49-F238E27FC236}">
                <a16:creationId xmlns:a16="http://schemas.microsoft.com/office/drawing/2014/main" id="{2CC659DB-0DB5-45CE-9267-E67BE13D4959}"/>
              </a:ext>
            </a:extLst>
          </p:cNvPr>
          <p:cNvSpPr/>
          <p:nvPr userDrawn="1"/>
        </p:nvSpPr>
        <p:spPr bwMode="auto">
          <a:xfrm rot="16200000">
            <a:off x="2667001" y="-2667001"/>
            <a:ext cx="6858001" cy="12192000"/>
          </a:xfrm>
          <a:prstGeom prst="rect">
            <a:avLst/>
          </a:prstGeom>
          <a:gradFill>
            <a:gsLst>
              <a:gs pos="17000">
                <a:schemeClr val="bg1">
                  <a:lumMod val="10000"/>
                  <a:alpha val="71000"/>
                </a:schemeClr>
              </a:gs>
              <a:gs pos="81000">
                <a:schemeClr val="bg1">
                  <a:lumMod val="10000"/>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
        <p:nvSpPr>
          <p:cNvPr id="12" name="Rectangle 11">
            <a:extLst>
              <a:ext uri="{FF2B5EF4-FFF2-40B4-BE49-F238E27FC236}">
                <a16:creationId xmlns:a16="http://schemas.microsoft.com/office/drawing/2014/main" id="{82FFE6F2-0A60-394A-A81C-FBD3676B8624}"/>
              </a:ext>
            </a:extLst>
          </p:cNvPr>
          <p:cNvSpPr/>
          <p:nvPr userDrawn="1"/>
        </p:nvSpPr>
        <p:spPr bwMode="auto">
          <a:xfrm rot="5400000">
            <a:off x="3064531" y="-3064534"/>
            <a:ext cx="6062940" cy="12192000"/>
          </a:xfrm>
          <a:prstGeom prst="rect">
            <a:avLst/>
          </a:prstGeom>
          <a:gradFill flip="none" rotWithShape="1">
            <a:gsLst>
              <a:gs pos="7000">
                <a:schemeClr val="bg1"/>
              </a:gs>
              <a:gs pos="18000">
                <a:schemeClr val="bg1">
                  <a:alpha val="0"/>
                </a:scheme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3FB9A594-8362-EE41-8058-D4A0A53EB681}"/>
              </a:ext>
            </a:extLst>
          </p:cNvPr>
          <p:cNvPicPr>
            <a:picLocks noChangeAspect="1"/>
          </p:cNvPicPr>
          <p:nvPr userDrawn="1"/>
        </p:nvPicPr>
        <p:blipFill>
          <a:blip r:embed="rId3"/>
          <a:stretch>
            <a:fillRect/>
          </a:stretch>
        </p:blipFill>
        <p:spPr>
          <a:xfrm>
            <a:off x="426427" y="436590"/>
            <a:ext cx="896426" cy="191691"/>
          </a:xfrm>
          <a:prstGeom prst="rect">
            <a:avLst/>
          </a:prstGeom>
        </p:spPr>
      </p:pic>
    </p:spTree>
    <p:extLst>
      <p:ext uri="{BB962C8B-B14F-4D97-AF65-F5344CB8AC3E}">
        <p14:creationId xmlns:p14="http://schemas.microsoft.com/office/powerpoint/2010/main" val="4060194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latin typeface="+mj-lt"/>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198518"/>
            <a:ext cx="11339774" cy="298752"/>
          </a:xfrm>
        </p:spPr>
        <p:txBody>
          <a:bodyPr wrap="square" lIns="0" tIns="0" rIns="0" bIns="0">
            <a:spAutoFit/>
          </a:bodyPr>
          <a:lstStyle>
            <a:lvl1pPr marL="0" indent="0">
              <a:lnSpc>
                <a:spcPct val="90000"/>
              </a:lnSpc>
              <a:spcBef>
                <a:spcPts val="0"/>
              </a:spcBef>
              <a:spcAft>
                <a:spcPts val="1273"/>
              </a:spcAft>
              <a:buNone/>
              <a:defRPr sz="2157"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2pt</a:t>
            </a:r>
          </a:p>
        </p:txBody>
      </p:sp>
    </p:spTree>
    <p:extLst>
      <p:ext uri="{BB962C8B-B14F-4D97-AF65-F5344CB8AC3E}">
        <p14:creationId xmlns:p14="http://schemas.microsoft.com/office/powerpoint/2010/main" val="401763798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6744CB6F-6270-F34B-A301-417DE3882693}"/>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latin typeface="+mj-lt"/>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57832711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3059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2379983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60D08B2-BE7A-C940-836F-7ABF71095A07}"/>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latin typeface="+mj-lt"/>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7401714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image" Target="../media/image1.emf"/><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theme" Target="../theme/theme10.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image" Target="../media/image54.emf"/><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image" Target="../media/image54.emf"/><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theme" Target="../theme/theme12.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9" Type="http://schemas.openxmlformats.org/officeDocument/2006/relationships/theme" Target="../theme/theme13.xml"/><Relationship Id="rId21" Type="http://schemas.openxmlformats.org/officeDocument/2006/relationships/slideLayout" Target="../slideLayouts/slideLayout323.xml"/><Relationship Id="rId34" Type="http://schemas.openxmlformats.org/officeDocument/2006/relationships/slideLayout" Target="../slideLayouts/slideLayout336.xml"/><Relationship Id="rId42" Type="http://schemas.openxmlformats.org/officeDocument/2006/relationships/tags" Target="../tags/tag2.xml"/><Relationship Id="rId7" Type="http://schemas.openxmlformats.org/officeDocument/2006/relationships/slideLayout" Target="../slideLayouts/slideLayout309.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9" Type="http://schemas.openxmlformats.org/officeDocument/2006/relationships/slideLayout" Target="../slideLayouts/slideLayout331.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32" Type="http://schemas.openxmlformats.org/officeDocument/2006/relationships/slideLayout" Target="../slideLayouts/slideLayout334.xml"/><Relationship Id="rId37" Type="http://schemas.openxmlformats.org/officeDocument/2006/relationships/slideLayout" Target="../slideLayouts/slideLayout339.xml"/><Relationship Id="rId40" Type="http://schemas.openxmlformats.org/officeDocument/2006/relationships/vmlDrawing" Target="../drawings/vmlDrawing1.vml"/><Relationship Id="rId45" Type="http://schemas.openxmlformats.org/officeDocument/2006/relationships/image" Target="../media/image16.emf"/><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slideLayout" Target="../slideLayouts/slideLayout330.xml"/><Relationship Id="rId36" Type="http://schemas.openxmlformats.org/officeDocument/2006/relationships/slideLayout" Target="../slideLayouts/slideLayout338.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31" Type="http://schemas.openxmlformats.org/officeDocument/2006/relationships/slideLayout" Target="../slideLayouts/slideLayout333.xml"/><Relationship Id="rId44" Type="http://schemas.openxmlformats.org/officeDocument/2006/relationships/image" Target="../media/image62.emf"/><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 Id="rId30" Type="http://schemas.openxmlformats.org/officeDocument/2006/relationships/slideLayout" Target="../slideLayouts/slideLayout332.xml"/><Relationship Id="rId35" Type="http://schemas.openxmlformats.org/officeDocument/2006/relationships/slideLayout" Target="../slideLayouts/slideLayout337.xml"/><Relationship Id="rId43" Type="http://schemas.openxmlformats.org/officeDocument/2006/relationships/oleObject" Target="../embeddings/oleObject1.bin"/><Relationship Id="rId8" Type="http://schemas.openxmlformats.org/officeDocument/2006/relationships/slideLayout" Target="../slideLayouts/slideLayout310.xml"/><Relationship Id="rId3" Type="http://schemas.openxmlformats.org/officeDocument/2006/relationships/slideLayout" Target="../slideLayouts/slideLayout305.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33" Type="http://schemas.openxmlformats.org/officeDocument/2006/relationships/slideLayout" Target="../slideLayouts/slideLayout335.xml"/><Relationship Id="rId38" Type="http://schemas.openxmlformats.org/officeDocument/2006/relationships/slideLayout" Target="../slideLayouts/slideLayout340.xml"/><Relationship Id="rId20" Type="http://schemas.openxmlformats.org/officeDocument/2006/relationships/slideLayout" Target="../slideLayouts/slideLayout322.xml"/><Relationship Id="rId41" Type="http://schemas.openxmlformats.org/officeDocument/2006/relationships/tags" Target="../tags/tag1.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343.xml"/><Relationship Id="rId7" Type="http://schemas.openxmlformats.org/officeDocument/2006/relationships/slideLayout" Target="../slideLayouts/slideLayout347.xml"/><Relationship Id="rId2" Type="http://schemas.openxmlformats.org/officeDocument/2006/relationships/slideLayout" Target="../slideLayouts/slideLayout342.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5" Type="http://schemas.openxmlformats.org/officeDocument/2006/relationships/slideLayout" Target="../slideLayouts/slideLayout345.xml"/><Relationship Id="rId4" Type="http://schemas.openxmlformats.org/officeDocument/2006/relationships/slideLayout" Target="../slideLayouts/slideLayout344.xml"/><Relationship Id="rId9" Type="http://schemas.openxmlformats.org/officeDocument/2006/relationships/image" Target="../media/image16.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image" Target="../media/image2.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16.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theme" Target="../theme/theme4.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8"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5.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1.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40.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50" Type="http://schemas.openxmlformats.org/officeDocument/2006/relationships/slideLayout" Target="../slideLayouts/slideLayout164.xml"/><Relationship Id="rId55" Type="http://schemas.openxmlformats.org/officeDocument/2006/relationships/slideLayout" Target="../slideLayouts/slideLayout169.xml"/><Relationship Id="rId63" Type="http://schemas.openxmlformats.org/officeDocument/2006/relationships/slideLayout" Target="../slideLayouts/slideLayout177.xml"/><Relationship Id="rId68" Type="http://schemas.openxmlformats.org/officeDocument/2006/relationships/theme" Target="../theme/theme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9" Type="http://schemas.openxmlformats.org/officeDocument/2006/relationships/slideLayout" Target="../slideLayouts/slideLayout143.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53" Type="http://schemas.openxmlformats.org/officeDocument/2006/relationships/slideLayout" Target="../slideLayouts/slideLayout167.xml"/><Relationship Id="rId58" Type="http://schemas.openxmlformats.org/officeDocument/2006/relationships/slideLayout" Target="../slideLayouts/slideLayout172.xml"/><Relationship Id="rId66" Type="http://schemas.openxmlformats.org/officeDocument/2006/relationships/slideLayout" Target="../slideLayouts/slideLayout180.xml"/><Relationship Id="rId5" Type="http://schemas.openxmlformats.org/officeDocument/2006/relationships/slideLayout" Target="../slideLayouts/slideLayout119.xml"/><Relationship Id="rId61" Type="http://schemas.openxmlformats.org/officeDocument/2006/relationships/slideLayout" Target="../slideLayouts/slideLayout175.xml"/><Relationship Id="rId19" Type="http://schemas.openxmlformats.org/officeDocument/2006/relationships/slideLayout" Target="../slideLayouts/slideLayout13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56" Type="http://schemas.openxmlformats.org/officeDocument/2006/relationships/slideLayout" Target="../slideLayouts/slideLayout170.xml"/><Relationship Id="rId64" Type="http://schemas.openxmlformats.org/officeDocument/2006/relationships/slideLayout" Target="../slideLayouts/slideLayout178.xml"/><Relationship Id="rId8" Type="http://schemas.openxmlformats.org/officeDocument/2006/relationships/slideLayout" Target="../slideLayouts/slideLayout122.xml"/><Relationship Id="rId51" Type="http://schemas.openxmlformats.org/officeDocument/2006/relationships/slideLayout" Target="../slideLayouts/slideLayout165.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59" Type="http://schemas.openxmlformats.org/officeDocument/2006/relationships/slideLayout" Target="../slideLayouts/slideLayout173.xml"/><Relationship Id="rId67" Type="http://schemas.openxmlformats.org/officeDocument/2006/relationships/slideLayout" Target="../slideLayouts/slideLayout181.xml"/><Relationship Id="rId20" Type="http://schemas.openxmlformats.org/officeDocument/2006/relationships/slideLayout" Target="../slideLayouts/slideLayout134.xml"/><Relationship Id="rId41" Type="http://schemas.openxmlformats.org/officeDocument/2006/relationships/slideLayout" Target="../slideLayouts/slideLayout155.xml"/><Relationship Id="rId54" Type="http://schemas.openxmlformats.org/officeDocument/2006/relationships/slideLayout" Target="../slideLayouts/slideLayout168.xml"/><Relationship Id="rId62" Type="http://schemas.openxmlformats.org/officeDocument/2006/relationships/slideLayout" Target="../slideLayouts/slideLayout17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57" Type="http://schemas.openxmlformats.org/officeDocument/2006/relationships/slideLayout" Target="../slideLayouts/slideLayout171.xml"/><Relationship Id="rId10" Type="http://schemas.openxmlformats.org/officeDocument/2006/relationships/slideLayout" Target="../slideLayouts/slideLayout124.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60" Type="http://schemas.openxmlformats.org/officeDocument/2006/relationships/slideLayout" Target="../slideLayouts/slideLayout174.xml"/><Relationship Id="rId65" Type="http://schemas.openxmlformats.org/officeDocument/2006/relationships/slideLayout" Target="../slideLayouts/slideLayout179.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9"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9" Type="http://schemas.openxmlformats.org/officeDocument/2006/relationships/slideLayout" Target="../slideLayouts/slideLayout220.xml"/><Relationship Id="rId21" Type="http://schemas.openxmlformats.org/officeDocument/2006/relationships/slideLayout" Target="../slideLayouts/slideLayout202.xml"/><Relationship Id="rId34" Type="http://schemas.openxmlformats.org/officeDocument/2006/relationships/slideLayout" Target="../slideLayouts/slideLayout215.xml"/><Relationship Id="rId42" Type="http://schemas.openxmlformats.org/officeDocument/2006/relationships/slideLayout" Target="../slideLayouts/slideLayout223.xml"/><Relationship Id="rId47" Type="http://schemas.openxmlformats.org/officeDocument/2006/relationships/image" Target="../media/image40.png"/><Relationship Id="rId7" Type="http://schemas.openxmlformats.org/officeDocument/2006/relationships/slideLayout" Target="../slideLayouts/slideLayout18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37" Type="http://schemas.openxmlformats.org/officeDocument/2006/relationships/slideLayout" Target="../slideLayouts/slideLayout218.xml"/><Relationship Id="rId40" Type="http://schemas.openxmlformats.org/officeDocument/2006/relationships/slideLayout" Target="../slideLayouts/slideLayout221.xml"/><Relationship Id="rId45" Type="http://schemas.openxmlformats.org/officeDocument/2006/relationships/slideLayout" Target="../slideLayouts/slideLayout226.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slideLayout" Target="../slideLayouts/slideLayout217.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4" Type="http://schemas.openxmlformats.org/officeDocument/2006/relationships/slideLayout" Target="../slideLayouts/slideLayout225.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slideLayout" Target="../slideLayouts/slideLayout216.xml"/><Relationship Id="rId43" Type="http://schemas.openxmlformats.org/officeDocument/2006/relationships/slideLayout" Target="../slideLayouts/slideLayout224.xml"/><Relationship Id="rId48" Type="http://schemas.openxmlformats.org/officeDocument/2006/relationships/image" Target="../media/image41.png"/><Relationship Id="rId8" Type="http://schemas.openxmlformats.org/officeDocument/2006/relationships/slideLayout" Target="../slideLayouts/slideLayout189.xml"/><Relationship Id="rId3" Type="http://schemas.openxmlformats.org/officeDocument/2006/relationships/slideLayout" Target="../slideLayouts/slideLayout184.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38" Type="http://schemas.openxmlformats.org/officeDocument/2006/relationships/slideLayout" Target="../slideLayouts/slideLayout219.xml"/><Relationship Id="rId46" Type="http://schemas.openxmlformats.org/officeDocument/2006/relationships/theme" Target="../theme/theme8.xml"/><Relationship Id="rId20" Type="http://schemas.openxmlformats.org/officeDocument/2006/relationships/slideLayout" Target="../slideLayouts/slideLayout201.xml"/><Relationship Id="rId41" Type="http://schemas.openxmlformats.org/officeDocument/2006/relationships/slideLayout" Target="../slideLayouts/slideLayout2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image" Target="../media/image54.emf"/><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theme" Target="../theme/theme9.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userDrawn="1">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userDrawn="1"/>
        </p:nvGrpSpPr>
        <p:grpSpPr>
          <a:xfrm>
            <a:off x="13042277" y="608049"/>
            <a:ext cx="762212" cy="6249956"/>
            <a:chOff x="13152703" y="620154"/>
            <a:chExt cx="777496" cy="6374376"/>
          </a:xfrm>
        </p:grpSpPr>
        <p:pic>
          <p:nvPicPr>
            <p:cNvPr id="5" name="Picture 4"/>
            <p:cNvPicPr>
              <a:picLocks noChangeAspect="1"/>
            </p:cNvPicPr>
            <p:nvPr userDrawn="1"/>
          </p:nvPicPr>
          <p:blipFill rotWithShape="1">
            <a:blip r:embed="rId21" cstate="screen">
              <a:extLst>
                <a:ext uri="{28A0092B-C50C-407E-A947-70E740481C1C}">
                  <a14:useLocalDpi xmlns:a14="http://schemas.microsoft.com/office/drawing/2010/main" val="0"/>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userDrawn="1"/>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userDrawn="1"/>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userDrawn="1"/>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userDrawn="1"/>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userDrawn="1"/>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userDrawn="1"/>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userDrawn="1"/>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userDrawn="1"/>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userDrawn="1"/>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2716292929"/>
      </p:ext>
    </p:extLst>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3" r:id="rId13"/>
    <p:sldLayoutId id="2147484514" r:id="rId14"/>
    <p:sldLayoutId id="2147484515" r:id="rId15"/>
    <p:sldLayoutId id="2147484516" r:id="rId16"/>
    <p:sldLayoutId id="2147484598" r:id="rId17"/>
    <p:sldLayoutId id="2147484599" r:id="rId18"/>
    <p:sldLayoutId id="2147484601" r:id="rId19"/>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39378351"/>
      </p:ext>
    </p:extLst>
  </p:cSld>
  <p:clrMap bg1="lt1" tx1="dk1" bg2="lt2" tx2="dk2" accent1="accent1" accent2="accent2" accent3="accent3" accent4="accent4" accent5="accent5" accent6="accent6" hlink="hlink" folHlink="folHlink"/>
  <p:sldLayoutIdLst>
    <p:sldLayoutId id="2147484848" r:id="rId1"/>
    <p:sldLayoutId id="2147484849" r:id="rId2"/>
    <p:sldLayoutId id="2147484850" r:id="rId3"/>
    <p:sldLayoutId id="2147484851" r:id="rId4"/>
    <p:sldLayoutId id="2147484852" r:id="rId5"/>
    <p:sldLayoutId id="2147484853" r:id="rId6"/>
    <p:sldLayoutId id="2147484854" r:id="rId7"/>
    <p:sldLayoutId id="2147484855" r:id="rId8"/>
    <p:sldLayoutId id="2147484856" r:id="rId9"/>
    <p:sldLayoutId id="2147484857" r:id="rId10"/>
    <p:sldLayoutId id="2147484858" r:id="rId11"/>
    <p:sldLayoutId id="2147484859" r:id="rId12"/>
    <p:sldLayoutId id="2147484860" r:id="rId13"/>
    <p:sldLayoutId id="2147484861" r:id="rId14"/>
    <p:sldLayoutId id="2147484862" r:id="rId15"/>
    <p:sldLayoutId id="2147484863" r:id="rId16"/>
    <p:sldLayoutId id="2147484864" r:id="rId17"/>
    <p:sldLayoutId id="2147484865"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54862821"/>
      </p:ext>
    </p:extLst>
  </p:cSld>
  <p:clrMap bg1="lt1" tx1="dk1" bg2="lt2" tx2="dk2" accent1="accent1" accent2="accent2" accent3="accent3" accent4="accent4" accent5="accent5" accent6="accent6" hlink="hlink" folHlink="folHlink"/>
  <p:sldLayoutIdLst>
    <p:sldLayoutId id="2147484867" r:id="rId1"/>
    <p:sldLayoutId id="2147484868" r:id="rId2"/>
    <p:sldLayoutId id="2147484869" r:id="rId3"/>
    <p:sldLayoutId id="2147484870" r:id="rId4"/>
    <p:sldLayoutId id="2147484871" r:id="rId5"/>
    <p:sldLayoutId id="2147484872" r:id="rId6"/>
    <p:sldLayoutId id="2147484873" r:id="rId7"/>
    <p:sldLayoutId id="2147484874" r:id="rId8"/>
    <p:sldLayoutId id="2147484875" r:id="rId9"/>
    <p:sldLayoutId id="2147484876" r:id="rId10"/>
    <p:sldLayoutId id="2147484877" r:id="rId11"/>
    <p:sldLayoutId id="2147484878" r:id="rId12"/>
    <p:sldLayoutId id="2147484879" r:id="rId13"/>
    <p:sldLayoutId id="2147484880" r:id="rId14"/>
    <p:sldLayoutId id="2147484881" r:id="rId15"/>
    <p:sldLayoutId id="2147484882" r:id="rId16"/>
    <p:sldLayoutId id="2147484883" r:id="rId17"/>
    <p:sldLayoutId id="2147484884" r:id="rId18"/>
    <p:sldLayoutId id="2147484885" r:id="rId19"/>
    <p:sldLayoutId id="2147484886" r:id="rId20"/>
    <p:sldLayoutId id="2147484887" r:id="rId21"/>
    <p:sldLayoutId id="2147484888" r:id="rId22"/>
    <p:sldLayoutId id="2147484889" r:id="rId23"/>
    <p:sldLayoutId id="2147484890" r:id="rId24"/>
    <p:sldLayoutId id="2147484891" r:id="rId25"/>
    <p:sldLayoutId id="2147484956"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49550818"/>
      </p:ext>
    </p:extLst>
  </p:cSld>
  <p:clrMap bg1="lt1" tx1="dk1" bg2="lt2" tx2="dk2" accent1="accent1" accent2="accent2" accent3="accent3" accent4="accent4" accent5="accent5" accent6="accent6" hlink="hlink" folHlink="folHlink"/>
  <p:sldLayoutIdLst>
    <p:sldLayoutId id="2147484893" r:id="rId1"/>
    <p:sldLayoutId id="2147484894" r:id="rId2"/>
    <p:sldLayoutId id="2147484895" r:id="rId3"/>
    <p:sldLayoutId id="2147484896" r:id="rId4"/>
    <p:sldLayoutId id="2147484897" r:id="rId5"/>
    <p:sldLayoutId id="2147484898" r:id="rId6"/>
    <p:sldLayoutId id="2147484899" r:id="rId7"/>
    <p:sldLayoutId id="2147484900" r:id="rId8"/>
    <p:sldLayoutId id="2147484901" r:id="rId9"/>
    <p:sldLayoutId id="2147484902" r:id="rId10"/>
    <p:sldLayoutId id="2147484903" r:id="rId11"/>
    <p:sldLayoutId id="2147484904" r:id="rId12"/>
    <p:sldLayoutId id="2147484905" r:id="rId13"/>
    <p:sldLayoutId id="2147484906" r:id="rId14"/>
    <p:sldLayoutId id="2147484907" r:id="rId15"/>
    <p:sldLayoutId id="2147484908"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1"/>
            </p:custDataLst>
            <p:extLst>
              <p:ext uri="{D42A27DB-BD31-4B8C-83A1-F6EECF244321}">
                <p14:modId xmlns:p14="http://schemas.microsoft.com/office/powerpoint/2010/main" val="3993472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3" imgW="425" imgH="424" progId="TCLayout.ActiveDocument.1">
                  <p:embed/>
                </p:oleObj>
              </mc:Choice>
              <mc:Fallback>
                <p:oleObj name="think-cell Slide" r:id="rId43"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93832466"/>
      </p:ext>
    </p:extLst>
  </p:cSld>
  <p:clrMap bg1="lt1" tx1="dk1" bg2="lt2" tx2="dk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09865831"/>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755491073"/>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 id="2147484624" r:id="rId22"/>
    <p:sldLayoutId id="2147484625" r:id="rId23"/>
    <p:sldLayoutId id="2147484626" r:id="rId24"/>
    <p:sldLayoutId id="2147484627" r:id="rId25"/>
    <p:sldLayoutId id="2147484628" r:id="rId26"/>
    <p:sldLayoutId id="2147484629" r:id="rId27"/>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1" y="1866617"/>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688819"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07414007"/>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139454463"/>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 id="2147484672" r:id="rId26"/>
    <p:sldLayoutId id="2147484673" r:id="rId27"/>
    <p:sldLayoutId id="2147484674" r:id="rId28"/>
    <p:sldLayoutId id="2147484675" r:id="rId29"/>
    <p:sldLayoutId id="2147484676" r:id="rId30"/>
    <p:sldLayoutId id="2147484677" r:id="rId31"/>
    <p:sldLayoutId id="2147484678"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662872"/>
      </p:ext>
    </p:extLst>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7" r:id="rId7"/>
    <p:sldLayoutId id="2147484688" r:id="rId8"/>
    <p:sldLayoutId id="2147484689" r:id="rId9"/>
    <p:sldLayoutId id="2147484690" r:id="rId1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15080126"/>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81236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a:solidFill>
                  <a:prstClr val="black">
                    <a:tint val="75000"/>
                  </a:prstClr>
                </a:solidFill>
              </a:rPr>
              <a:t>MS CONFIDENTIAL</a:t>
            </a:r>
            <a:endParaRPr dirty="0">
              <a:solidFill>
                <a:prstClr val="black">
                  <a:tint val="75000"/>
                </a:prstClr>
              </a:soli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225"/>
            <a:fld id="{05722744-4DFE-4E56-A213-8E6ACE108F37}" type="slidenum">
              <a:rPr lang="da-DK" smtClean="0">
                <a:solidFill>
                  <a:prstClr val="black">
                    <a:tint val="75000"/>
                  </a:prstClr>
                </a:solidFill>
              </a:rPr>
              <a:pPr defTabSz="914225"/>
              <a:t>‹#›</a:t>
            </a:fld>
            <a:endParaRPr lang="da-DK" dirty="0">
              <a:solidFill>
                <a:prstClr val="black">
                  <a:tint val="75000"/>
                </a:prstClr>
              </a:solidFill>
            </a:endParaRPr>
          </a:p>
        </p:txBody>
      </p:sp>
    </p:spTree>
    <p:extLst>
      <p:ext uri="{BB962C8B-B14F-4D97-AF65-F5344CB8AC3E}">
        <p14:creationId xmlns:p14="http://schemas.microsoft.com/office/powerpoint/2010/main" val="2544967930"/>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 id="2147484740" r:id="rId25"/>
    <p:sldLayoutId id="2147484741" r:id="rId26"/>
    <p:sldLayoutId id="2147484742" r:id="rId27"/>
    <p:sldLayoutId id="2147484743" r:id="rId28"/>
    <p:sldLayoutId id="2147484744" r:id="rId29"/>
    <p:sldLayoutId id="2147484745" r:id="rId30"/>
    <p:sldLayoutId id="2147484746" r:id="rId31"/>
    <p:sldLayoutId id="2147484747" r:id="rId32"/>
    <p:sldLayoutId id="2147484748" r:id="rId33"/>
    <p:sldLayoutId id="2147484749" r:id="rId34"/>
    <p:sldLayoutId id="2147484750" r:id="rId35"/>
    <p:sldLayoutId id="2147484751" r:id="rId36"/>
    <p:sldLayoutId id="2147484752" r:id="rId37"/>
    <p:sldLayoutId id="2147484753" r:id="rId38"/>
    <p:sldLayoutId id="2147484754" r:id="rId39"/>
    <p:sldLayoutId id="2147484755" r:id="rId40"/>
    <p:sldLayoutId id="2147484756" r:id="rId41"/>
    <p:sldLayoutId id="2147484757" r:id="rId42"/>
    <p:sldLayoutId id="2147484758" r:id="rId43"/>
    <p:sldLayoutId id="2147484759" r:id="rId44"/>
    <p:sldLayoutId id="2147484760" r:id="rId45"/>
    <p:sldLayoutId id="2147484761" r:id="rId46"/>
    <p:sldLayoutId id="2147484762" r:id="rId47"/>
    <p:sldLayoutId id="2147484763" r:id="rId48"/>
    <p:sldLayoutId id="2147484764" r:id="rId49"/>
    <p:sldLayoutId id="2147484765" r:id="rId50"/>
    <p:sldLayoutId id="2147484766" r:id="rId51"/>
    <p:sldLayoutId id="2147484767" r:id="rId52"/>
    <p:sldLayoutId id="2147484768" r:id="rId53"/>
    <p:sldLayoutId id="2147484769" r:id="rId54"/>
    <p:sldLayoutId id="2147484770" r:id="rId55"/>
    <p:sldLayoutId id="2147484771" r:id="rId56"/>
    <p:sldLayoutId id="2147484772" r:id="rId57"/>
    <p:sldLayoutId id="2147484773" r:id="rId58"/>
    <p:sldLayoutId id="2147484774" r:id="rId59"/>
    <p:sldLayoutId id="2147484775" r:id="rId60"/>
    <p:sldLayoutId id="2147484776" r:id="rId61"/>
    <p:sldLayoutId id="2147484777" r:id="rId62"/>
    <p:sldLayoutId id="2147484778" r:id="rId63"/>
    <p:sldLayoutId id="2147484779" r:id="rId64"/>
    <p:sldLayoutId id="2147484780" r:id="rId65"/>
    <p:sldLayoutId id="2147484781" r:id="rId66"/>
    <p:sldLayoutId id="2147484782" r:id="rId67"/>
  </p:sldLayoutIdLst>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105000"/>
        </a:lnSpc>
        <a:spcBef>
          <a:spcPts val="1176"/>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105000"/>
        </a:lnSpc>
        <a:spcBef>
          <a:spcPts val="1176"/>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5000"/>
        </a:lnSpc>
        <a:spcBef>
          <a:spcPts val="1176"/>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5000"/>
        </a:lnSpc>
        <a:spcBef>
          <a:spcPts val="1176"/>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5000"/>
        </a:lnSpc>
        <a:spcBef>
          <a:spcPts val="1176"/>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7"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3597215499"/>
      </p:ext>
    </p:extLst>
  </p:cSld>
  <p:clrMap bg1="dk1" tx1="lt1" bg2="dk2" tx2="lt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 id="2147484808" r:id="rId25"/>
    <p:sldLayoutId id="2147484809" r:id="rId26"/>
    <p:sldLayoutId id="2147484810" r:id="rId27"/>
    <p:sldLayoutId id="2147484811" r:id="rId28"/>
    <p:sldLayoutId id="2147484812" r:id="rId29"/>
    <p:sldLayoutId id="2147484813" r:id="rId30"/>
    <p:sldLayoutId id="2147484814" r:id="rId31"/>
    <p:sldLayoutId id="2147484815" r:id="rId32"/>
    <p:sldLayoutId id="2147484816" r:id="rId33"/>
    <p:sldLayoutId id="2147484817" r:id="rId34"/>
    <p:sldLayoutId id="2147484818" r:id="rId35"/>
    <p:sldLayoutId id="2147484819" r:id="rId36"/>
    <p:sldLayoutId id="2147484820" r:id="rId37"/>
    <p:sldLayoutId id="2147484821" r:id="rId38"/>
    <p:sldLayoutId id="2147484822" r:id="rId39"/>
    <p:sldLayoutId id="2147484823" r:id="rId40"/>
    <p:sldLayoutId id="2147484824" r:id="rId41"/>
    <p:sldLayoutId id="2147484825" r:id="rId42"/>
    <p:sldLayoutId id="2147484826" r:id="rId43"/>
    <p:sldLayoutId id="2147484827" r:id="rId44"/>
    <p:sldLayoutId id="2147484828" r:id="rId4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48"/>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48"/>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48"/>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48"/>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48"/>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2970430"/>
      </p:ext>
    </p:extLst>
  </p:cSld>
  <p:clrMap bg1="lt1" tx1="dk1" bg2="lt2" tx2="dk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85.emf"/><Relationship Id="rId13" Type="http://schemas.openxmlformats.org/officeDocument/2006/relationships/image" Target="../media/image90.emf"/><Relationship Id="rId18" Type="http://schemas.openxmlformats.org/officeDocument/2006/relationships/image" Target="../media/image95.emf"/><Relationship Id="rId3" Type="http://schemas.openxmlformats.org/officeDocument/2006/relationships/image" Target="../media/image80.emf"/><Relationship Id="rId21" Type="http://schemas.openxmlformats.org/officeDocument/2006/relationships/image" Target="../media/image98.emf"/><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emf"/><Relationship Id="rId25" Type="http://schemas.openxmlformats.org/officeDocument/2006/relationships/image" Target="../media/image102.png"/><Relationship Id="rId2" Type="http://schemas.openxmlformats.org/officeDocument/2006/relationships/notesSlide" Target="../notesSlides/notesSlide10.xml"/><Relationship Id="rId16" Type="http://schemas.openxmlformats.org/officeDocument/2006/relationships/image" Target="../media/image93.png"/><Relationship Id="rId20" Type="http://schemas.openxmlformats.org/officeDocument/2006/relationships/image" Target="../media/image97.emf"/><Relationship Id="rId1" Type="http://schemas.openxmlformats.org/officeDocument/2006/relationships/slideLayout" Target="../slideLayouts/slideLayout214.xml"/><Relationship Id="rId6" Type="http://schemas.openxmlformats.org/officeDocument/2006/relationships/image" Target="../media/image83.jpg"/><Relationship Id="rId11" Type="http://schemas.openxmlformats.org/officeDocument/2006/relationships/image" Target="../media/image88.png"/><Relationship Id="rId24" Type="http://schemas.openxmlformats.org/officeDocument/2006/relationships/image" Target="../media/image101.png"/><Relationship Id="rId5" Type="http://schemas.openxmlformats.org/officeDocument/2006/relationships/image" Target="../media/image82.jpg"/><Relationship Id="rId15" Type="http://schemas.openxmlformats.org/officeDocument/2006/relationships/image" Target="../media/image92.emf"/><Relationship Id="rId23" Type="http://schemas.openxmlformats.org/officeDocument/2006/relationships/image" Target="../media/image100.emf"/><Relationship Id="rId10" Type="http://schemas.openxmlformats.org/officeDocument/2006/relationships/image" Target="../media/image87.emf"/><Relationship Id="rId19" Type="http://schemas.openxmlformats.org/officeDocument/2006/relationships/image" Target="../media/image96.emf"/><Relationship Id="rId4" Type="http://schemas.openxmlformats.org/officeDocument/2006/relationships/image" Target="../media/image81.jpg"/><Relationship Id="rId9" Type="http://schemas.openxmlformats.org/officeDocument/2006/relationships/image" Target="../media/image86.emf"/><Relationship Id="rId14" Type="http://schemas.openxmlformats.org/officeDocument/2006/relationships/image" Target="../media/image91.emf"/><Relationship Id="rId22" Type="http://schemas.openxmlformats.org/officeDocument/2006/relationships/image" Target="../media/image99.emf"/></Relationships>
</file>

<file path=ppt/slides/_rels/slide1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5.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04.pn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5.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comments" Target="../comments/comment1.xml"/><Relationship Id="rId5" Type="http://schemas.openxmlformats.org/officeDocument/2006/relationships/image" Target="../media/image105.pn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45.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06.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7.xml"/><Relationship Id="rId1" Type="http://schemas.openxmlformats.org/officeDocument/2006/relationships/slideLayout" Target="../slideLayouts/slideLayout284.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8.xml"/><Relationship Id="rId1" Type="http://schemas.openxmlformats.org/officeDocument/2006/relationships/slideLayout" Target="../slideLayouts/slideLayout283.xml"/></Relationships>
</file>

<file path=ppt/slides/_rels/slide2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9.xml"/><Relationship Id="rId1" Type="http://schemas.openxmlformats.org/officeDocument/2006/relationships/slideLayout" Target="../slideLayouts/slideLayout285.xml"/><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20.xml"/><Relationship Id="rId1" Type="http://schemas.openxmlformats.org/officeDocument/2006/relationships/slideLayout" Target="../slideLayouts/slideLayout26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14.png"/><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15.png"/><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16.png"/><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png"/><Relationship Id="rId7" Type="http://schemas.openxmlformats.org/officeDocument/2006/relationships/image" Target="../media/image120.png"/><Relationship Id="rId2" Type="http://schemas.openxmlformats.org/officeDocument/2006/relationships/notesSlide" Target="../notesSlides/notesSlide29.xml"/><Relationship Id="rId1" Type="http://schemas.openxmlformats.org/officeDocument/2006/relationships/slideLayout" Target="../slideLayouts/slideLayout233.xml"/><Relationship Id="rId6" Type="http://schemas.microsoft.com/office/2007/relationships/hdphoto" Target="../media/hdphoto2.wdp"/><Relationship Id="rId5" Type="http://schemas.openxmlformats.org/officeDocument/2006/relationships/image" Target="../media/image119.png"/><Relationship Id="rId4" Type="http://schemas.openxmlformats.org/officeDocument/2006/relationships/image" Target="../media/image118.svg"/><Relationship Id="rId9" Type="http://schemas.openxmlformats.org/officeDocument/2006/relationships/image" Target="../media/image122.png"/></Relationships>
</file>

<file path=ppt/slides/_rels/slide3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png"/><Relationship Id="rId7" Type="http://schemas.openxmlformats.org/officeDocument/2006/relationships/image" Target="../media/image120.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microsoft.com/office/2007/relationships/hdphoto" Target="../media/hdphoto2.wdp"/><Relationship Id="rId5" Type="http://schemas.openxmlformats.org/officeDocument/2006/relationships/image" Target="../media/image119.png"/><Relationship Id="rId4" Type="http://schemas.openxmlformats.org/officeDocument/2006/relationships/image" Target="../media/image118.svg"/><Relationship Id="rId9" Type="http://schemas.openxmlformats.org/officeDocument/2006/relationships/image" Target="../media/image122.png"/></Relationships>
</file>

<file path=ppt/slides/_rels/slide33.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png"/><Relationship Id="rId7" Type="http://schemas.openxmlformats.org/officeDocument/2006/relationships/image" Target="../media/image120.png"/><Relationship Id="rId2" Type="http://schemas.openxmlformats.org/officeDocument/2006/relationships/notesSlide" Target="../notesSlides/notesSlide31.xml"/><Relationship Id="rId1" Type="http://schemas.openxmlformats.org/officeDocument/2006/relationships/slideLayout" Target="../slideLayouts/slideLayout233.xml"/><Relationship Id="rId6" Type="http://schemas.microsoft.com/office/2007/relationships/hdphoto" Target="../media/hdphoto2.wdp"/><Relationship Id="rId5" Type="http://schemas.openxmlformats.org/officeDocument/2006/relationships/image" Target="../media/image119.png"/><Relationship Id="rId4" Type="http://schemas.openxmlformats.org/officeDocument/2006/relationships/image" Target="../media/image118.svg"/><Relationship Id="rId9" Type="http://schemas.openxmlformats.org/officeDocument/2006/relationships/image" Target="../media/image122.png"/></Relationships>
</file>

<file path=ppt/slides/_rels/slide34.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9.png"/><Relationship Id="rId7" Type="http://schemas.openxmlformats.org/officeDocument/2006/relationships/image" Target="../media/image117.png"/><Relationship Id="rId2" Type="http://schemas.openxmlformats.org/officeDocument/2006/relationships/notesSlide" Target="../notesSlides/notesSlide32.xml"/><Relationship Id="rId1" Type="http://schemas.openxmlformats.org/officeDocument/2006/relationships/slideLayout" Target="../slideLayouts/slideLayout233.xml"/><Relationship Id="rId6" Type="http://schemas.openxmlformats.org/officeDocument/2006/relationships/image" Target="../media/image121.png"/><Relationship Id="rId5" Type="http://schemas.openxmlformats.org/officeDocument/2006/relationships/image" Target="../media/image120.png"/><Relationship Id="rId4" Type="http://schemas.microsoft.com/office/2007/relationships/hdphoto" Target="../media/hdphoto2.wdp"/><Relationship Id="rId9" Type="http://schemas.openxmlformats.org/officeDocument/2006/relationships/image" Target="../media/image122.png"/></Relationships>
</file>

<file path=ppt/slides/_rels/slide35.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7.png"/><Relationship Id="rId7" Type="http://schemas.microsoft.com/office/2007/relationships/hdphoto" Target="../media/hdphoto2.wdp"/><Relationship Id="rId2" Type="http://schemas.openxmlformats.org/officeDocument/2006/relationships/notesSlide" Target="../notesSlides/notesSlide33.xml"/><Relationship Id="rId1" Type="http://schemas.openxmlformats.org/officeDocument/2006/relationships/slideLayout" Target="../slideLayouts/slideLayout233.xml"/><Relationship Id="rId6" Type="http://schemas.openxmlformats.org/officeDocument/2006/relationships/image" Target="../media/image119.png"/><Relationship Id="rId5" Type="http://schemas.openxmlformats.org/officeDocument/2006/relationships/image" Target="../media/image122.png"/><Relationship Id="rId4" Type="http://schemas.openxmlformats.org/officeDocument/2006/relationships/image" Target="../media/image118.svg"/><Relationship Id="rId9" Type="http://schemas.openxmlformats.org/officeDocument/2006/relationships/image" Target="../media/image121.png"/></Relationships>
</file>

<file path=ppt/slides/_rels/slide36.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18.svg"/><Relationship Id="rId2" Type="http://schemas.openxmlformats.org/officeDocument/2006/relationships/notesSlide" Target="../notesSlides/notesSlide34.xml"/><Relationship Id="rId1" Type="http://schemas.openxmlformats.org/officeDocument/2006/relationships/slideLayout" Target="../slideLayouts/slideLayout233.xml"/><Relationship Id="rId6" Type="http://schemas.openxmlformats.org/officeDocument/2006/relationships/image" Target="../media/image117.png"/><Relationship Id="rId5" Type="http://schemas.openxmlformats.org/officeDocument/2006/relationships/image" Target="../media/image120.png"/><Relationship Id="rId10" Type="http://schemas.openxmlformats.org/officeDocument/2006/relationships/image" Target="../media/image122.png"/><Relationship Id="rId4" Type="http://schemas.microsoft.com/office/2007/relationships/hdphoto" Target="../media/hdphoto2.wdp"/><Relationship Id="rId9" Type="http://schemas.microsoft.com/office/2007/relationships/hdphoto" Target="../media/hdphoto3.wdp"/></Relationships>
</file>

<file path=ppt/slides/_rels/slide37.xml.rels><?xml version="1.0" encoding="UTF-8" standalone="yes"?>
<Relationships xmlns="http://schemas.openxmlformats.org/package/2006/relationships"><Relationship Id="rId8" Type="http://schemas.openxmlformats.org/officeDocument/2006/relationships/image" Target="../media/image125.jpeg"/><Relationship Id="rId3" Type="http://schemas.openxmlformats.org/officeDocument/2006/relationships/tags" Target="../tags/tag10.xml"/><Relationship Id="rId7" Type="http://schemas.openxmlformats.org/officeDocument/2006/relationships/image" Target="../media/image124.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5.xml"/><Relationship Id="rId10" Type="http://schemas.openxmlformats.org/officeDocument/2006/relationships/hyperlink" Target="https://docs.microsoft.com/en-us/azure/virtual-desktop/partners" TargetMode="External"/><Relationship Id="rId4" Type="http://schemas.openxmlformats.org/officeDocument/2006/relationships/slideLayout" Target="../slideLayouts/slideLayout311.xml"/><Relationship Id="rId9" Type="http://schemas.openxmlformats.org/officeDocument/2006/relationships/image" Target="../media/image12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71.jpeg"/><Relationship Id="rId4" Type="http://schemas.openxmlformats.org/officeDocument/2006/relationships/image" Target="../media/image70.png"/></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9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9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90.xml"/></Relationships>
</file>

<file path=ppt/slides/_rels/slide43.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39.xml"/><Relationship Id="rId1" Type="http://schemas.openxmlformats.org/officeDocument/2006/relationships/slideLayout" Target="../slideLayouts/slideLayout29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74.jpg"/></Relationships>
</file>

<file path=ppt/slides/_rels/slide8.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219.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99C92-DC83-4B0C-8761-558598302812}"/>
              </a:ext>
            </a:extLst>
          </p:cNvPr>
          <p:cNvSpPr>
            <a:spLocks noGrp="1"/>
          </p:cNvSpPr>
          <p:nvPr>
            <p:ph type="title"/>
          </p:nvPr>
        </p:nvSpPr>
        <p:spPr>
          <a:xfrm>
            <a:off x="429544" y="3030052"/>
            <a:ext cx="10144788" cy="1792850"/>
          </a:xfrm>
        </p:spPr>
        <p:txBody>
          <a:bodyPr/>
          <a:lstStyle/>
          <a:p>
            <a:pPr>
              <a:spcBef>
                <a:spcPts val="0"/>
              </a:spcBef>
              <a:spcAft>
                <a:spcPts val="1765"/>
              </a:spcAft>
            </a:pPr>
            <a:r>
              <a:rPr lang="en-US" dirty="0">
                <a:solidFill>
                  <a:schemeClr val="accent1"/>
                </a:solidFill>
              </a:rPr>
              <a:t>Windows Virtual Desktop</a:t>
            </a:r>
            <a:br>
              <a:rPr lang="en-US" dirty="0"/>
            </a:br>
            <a:r>
              <a:rPr lang="en-US" dirty="0"/>
              <a:t>Technical Fundamentals</a:t>
            </a:r>
            <a:br>
              <a:rPr lang="en-US" dirty="0"/>
            </a:br>
            <a:r>
              <a:rPr lang="en-US" sz="3921" dirty="0"/>
              <a:t>Introduction workshop - 21. January 2020</a:t>
            </a:r>
            <a:endParaRPr lang="en-US" dirty="0"/>
          </a:p>
        </p:txBody>
      </p:sp>
      <p:sp>
        <p:nvSpPr>
          <p:cNvPr id="3" name="Text Placeholder 2">
            <a:extLst>
              <a:ext uri="{FF2B5EF4-FFF2-40B4-BE49-F238E27FC236}">
                <a16:creationId xmlns:a16="http://schemas.microsoft.com/office/drawing/2014/main" id="{D05C6155-CEF0-4464-9529-3BB3B426C3B7}"/>
              </a:ext>
            </a:extLst>
          </p:cNvPr>
          <p:cNvSpPr>
            <a:spLocks noGrp="1"/>
          </p:cNvSpPr>
          <p:nvPr>
            <p:ph type="body" sz="quarter" idx="12"/>
          </p:nvPr>
        </p:nvSpPr>
        <p:spPr/>
        <p:txBody>
          <a:bodyPr/>
          <a:lstStyle/>
          <a:p>
            <a:r>
              <a:rPr lang="en-US" dirty="0"/>
              <a:t>Peter Selch Dahl</a:t>
            </a:r>
          </a:p>
          <a:p>
            <a:r>
              <a:rPr lang="en-US" dirty="0"/>
              <a:t>Microsoft MVP: Microsoft Azure </a:t>
            </a:r>
          </a:p>
          <a:p>
            <a:r>
              <a:rPr lang="en-US" dirty="0"/>
              <a:t>APENTO</a:t>
            </a:r>
          </a:p>
        </p:txBody>
      </p:sp>
      <p:sp>
        <p:nvSpPr>
          <p:cNvPr id="4" name="TextBox 3">
            <a:extLst>
              <a:ext uri="{FF2B5EF4-FFF2-40B4-BE49-F238E27FC236}">
                <a16:creationId xmlns:a16="http://schemas.microsoft.com/office/drawing/2014/main" id="{741FD7EF-D005-44C3-898B-33192C3AAEA8}"/>
              </a:ext>
            </a:extLst>
          </p:cNvPr>
          <p:cNvSpPr txBox="1"/>
          <p:nvPr/>
        </p:nvSpPr>
        <p:spPr>
          <a:xfrm>
            <a:off x="7620000" y="290382"/>
            <a:ext cx="3944932" cy="635000"/>
          </a:xfrm>
          <a:prstGeom prst="rect">
            <a:avLst/>
          </a:prstGeom>
          <a:noFill/>
        </p:spPr>
        <p:txBody>
          <a:bodyPr wrap="square" lIns="182880" tIns="146304" rIns="182880" bIns="146304" rtlCol="0">
            <a:spAutoFit/>
          </a:bodyPr>
          <a:lstStyle/>
          <a:p>
            <a:pPr>
              <a:lnSpc>
                <a:spcPct val="90000"/>
              </a:lnSpc>
              <a:spcAft>
                <a:spcPts val="600"/>
              </a:spcAft>
            </a:pPr>
            <a:r>
              <a:rPr lang="da-DK" sz="2400" dirty="0" err="1">
                <a:gradFill>
                  <a:gsLst>
                    <a:gs pos="2917">
                      <a:schemeClr val="tx1"/>
                    </a:gs>
                    <a:gs pos="30000">
                      <a:schemeClr val="tx1"/>
                    </a:gs>
                  </a:gsLst>
                  <a:lin ang="5400000" scaled="0"/>
                </a:gradFill>
              </a:rPr>
              <a:t>WiFi</a:t>
            </a:r>
            <a:r>
              <a:rPr lang="da-DK" sz="2400" dirty="0">
                <a:gradFill>
                  <a:gsLst>
                    <a:gs pos="2917">
                      <a:schemeClr val="tx1"/>
                    </a:gs>
                    <a:gs pos="30000">
                      <a:schemeClr val="tx1"/>
                    </a:gs>
                  </a:gsLst>
                  <a:lin ang="5400000" scaled="0"/>
                </a:gradFill>
              </a:rPr>
              <a:t> kode: </a:t>
            </a:r>
            <a:r>
              <a:rPr lang="da-DK" sz="2400" b="1" dirty="0">
                <a:gradFill>
                  <a:gsLst>
                    <a:gs pos="2917">
                      <a:schemeClr val="tx1"/>
                    </a:gs>
                    <a:gs pos="30000">
                      <a:schemeClr val="tx1"/>
                    </a:gs>
                  </a:gsLst>
                  <a:lin ang="5400000" scaled="0"/>
                </a:gradFill>
              </a:rPr>
              <a:t>msevent463pf</a:t>
            </a:r>
          </a:p>
        </p:txBody>
      </p:sp>
    </p:spTree>
    <p:extLst>
      <p:ext uri="{BB962C8B-B14F-4D97-AF65-F5344CB8AC3E}">
        <p14:creationId xmlns:p14="http://schemas.microsoft.com/office/powerpoint/2010/main" val="416365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tx1">
                    <a:lumMod val="75000"/>
                    <a:lumOff val="25000"/>
                  </a:schemeClr>
                </a:solidFill>
              </a:rPr>
              <a:t>Azure RemoteApp 2014/2015</a:t>
            </a:r>
            <a:endParaRPr lang="en-US" sz="4800" dirty="0"/>
          </a:p>
        </p:txBody>
      </p:sp>
      <p:grpSp>
        <p:nvGrpSpPr>
          <p:cNvPr id="100" name="Group 99"/>
          <p:cNvGrpSpPr/>
          <p:nvPr/>
        </p:nvGrpSpPr>
        <p:grpSpPr>
          <a:xfrm>
            <a:off x="4290481" y="1451567"/>
            <a:ext cx="6124860" cy="3634601"/>
            <a:chOff x="5250255" y="1480178"/>
            <a:chExt cx="6247676" cy="3707482"/>
          </a:xfrm>
        </p:grpSpPr>
        <p:sp>
          <p:nvSpPr>
            <p:cNvPr id="101" name="Rectangle 100"/>
            <p:cNvSpPr/>
            <p:nvPr/>
          </p:nvSpPr>
          <p:spPr>
            <a:xfrm>
              <a:off x="5250255" y="4818328"/>
              <a:ext cx="6247676" cy="369332"/>
            </a:xfrm>
            <a:prstGeom prst="rect">
              <a:avLst/>
            </a:prstGeom>
          </p:spPr>
          <p:txBody>
            <a:bodyPr wrap="square">
              <a:spAutoFit/>
            </a:bodyPr>
            <a:lstStyle/>
            <a:p>
              <a:pPr algn="ctr"/>
              <a:r>
                <a:rPr lang="en-US" sz="1765" dirty="0">
                  <a:solidFill>
                    <a:srgbClr val="002060"/>
                  </a:solidFill>
                  <a:latin typeface="Segoe UI Semilight" panose="020B0402040204020203" pitchFamily="34" charset="0"/>
                  <a:cs typeface="Segoe UI Semilight" panose="020B0402040204020203" pitchFamily="34" charset="0"/>
                </a:rPr>
                <a:t>RemoteApp Service</a:t>
              </a:r>
            </a:p>
          </p:txBody>
        </p:sp>
        <p:pic>
          <p:nvPicPr>
            <p:cNvPr id="102" name="Picture 101"/>
            <p:cNvPicPr>
              <a:picLocks noChangeAspect="1"/>
            </p:cNvPicPr>
            <p:nvPr/>
          </p:nvPicPr>
          <p:blipFill>
            <a:blip r:embed="rId3"/>
            <a:stretch>
              <a:fillRect/>
            </a:stretch>
          </p:blipFill>
          <p:spPr>
            <a:xfrm>
              <a:off x="5250255" y="1480178"/>
              <a:ext cx="6247676" cy="3344294"/>
            </a:xfrm>
            <a:prstGeom prst="rect">
              <a:avLst/>
            </a:prstGeom>
            <a:noFill/>
            <a:ln>
              <a:noFill/>
            </a:ln>
          </p:spPr>
        </p:pic>
      </p:grpSp>
      <p:sp>
        <p:nvSpPr>
          <p:cNvPr id="104" name="Freeform 511"/>
          <p:cNvSpPr>
            <a:spLocks/>
          </p:cNvSpPr>
          <p:nvPr/>
        </p:nvSpPr>
        <p:spPr bwMode="auto">
          <a:xfrm>
            <a:off x="3183312" y="4748039"/>
            <a:ext cx="778" cy="778"/>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endParaRPr>
          </a:p>
        </p:txBody>
      </p:sp>
      <p:grpSp>
        <p:nvGrpSpPr>
          <p:cNvPr id="105" name="Group 104"/>
          <p:cNvGrpSpPr/>
          <p:nvPr/>
        </p:nvGrpSpPr>
        <p:grpSpPr>
          <a:xfrm>
            <a:off x="6433084" y="3308744"/>
            <a:ext cx="1154569" cy="885885"/>
            <a:chOff x="4552574" y="1881677"/>
            <a:chExt cx="1433672" cy="1100040"/>
          </a:xfrm>
        </p:grpSpPr>
        <p:grpSp>
          <p:nvGrpSpPr>
            <p:cNvPr id="106" name="Group 105"/>
            <p:cNvGrpSpPr/>
            <p:nvPr/>
          </p:nvGrpSpPr>
          <p:grpSpPr>
            <a:xfrm>
              <a:off x="4555892" y="1881677"/>
              <a:ext cx="1430354" cy="467722"/>
              <a:chOff x="9077397" y="2359024"/>
              <a:chExt cx="1202683" cy="393275"/>
            </a:xfrm>
          </p:grpSpPr>
          <p:pic>
            <p:nvPicPr>
              <p:cNvPr id="108" name="Picture 1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6976" y="2369193"/>
                <a:ext cx="383104" cy="383106"/>
              </a:xfrm>
              <a:prstGeom prst="rect">
                <a:avLst/>
              </a:prstGeom>
            </p:spPr>
          </p:pic>
          <p:pic>
            <p:nvPicPr>
              <p:cNvPr id="110" name="Picture 10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84612" y="2369192"/>
                <a:ext cx="383108" cy="383107"/>
              </a:xfrm>
              <a:prstGeom prst="rect">
                <a:avLst/>
              </a:prstGeom>
            </p:spPr>
          </p:pic>
          <p:pic>
            <p:nvPicPr>
              <p:cNvPr id="112" name="Picture 1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77397" y="2359024"/>
                <a:ext cx="383106" cy="383106"/>
              </a:xfrm>
              <a:prstGeom prst="rect">
                <a:avLst/>
              </a:prstGeom>
            </p:spPr>
          </p:pic>
        </p:grpSp>
        <p:sp>
          <p:nvSpPr>
            <p:cNvPr id="107" name="TextBox 106"/>
            <p:cNvSpPr txBox="1"/>
            <p:nvPr/>
          </p:nvSpPr>
          <p:spPr>
            <a:xfrm>
              <a:off x="4552574" y="2813118"/>
              <a:ext cx="1427302" cy="168599"/>
            </a:xfrm>
            <a:prstGeom prst="rect">
              <a:avLst/>
            </a:prstGeom>
            <a:noFill/>
          </p:spPr>
          <p:txBody>
            <a:bodyPr wrap="square" lIns="0" tIns="0" rIns="0" bIns="0" rtlCol="0">
              <a:spAutoFit/>
            </a:bodyPr>
            <a:lstStyle/>
            <a:p>
              <a:pPr algn="ctr">
                <a:lnSpc>
                  <a:spcPct val="90000"/>
                </a:lnSpc>
                <a:spcAft>
                  <a:spcPts val="588"/>
                </a:spcAft>
              </a:pPr>
              <a:r>
                <a:rPr lang="en-US" sz="980" dirty="0">
                  <a:solidFill>
                    <a:srgbClr val="002050"/>
                  </a:solidFill>
                </a:rPr>
                <a:t>Published apps</a:t>
              </a:r>
            </a:p>
          </p:txBody>
        </p:sp>
      </p:grpSp>
      <p:grpSp>
        <p:nvGrpSpPr>
          <p:cNvPr id="114" name="Group 113"/>
          <p:cNvGrpSpPr/>
          <p:nvPr/>
        </p:nvGrpSpPr>
        <p:grpSpPr>
          <a:xfrm>
            <a:off x="6053041" y="5384819"/>
            <a:ext cx="1480172" cy="448212"/>
            <a:chOff x="9396834" y="1807038"/>
            <a:chExt cx="1509853" cy="457200"/>
          </a:xfrm>
        </p:grpSpPr>
        <p:pic>
          <p:nvPicPr>
            <p:cNvPr id="115" name="Picture 1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96834" y="1807038"/>
              <a:ext cx="457200" cy="457200"/>
            </a:xfrm>
            <a:prstGeom prst="rect">
              <a:avLst/>
            </a:prstGeom>
          </p:spPr>
        </p:pic>
        <p:sp>
          <p:nvSpPr>
            <p:cNvPr id="119" name="TextBox 118"/>
            <p:cNvSpPr txBox="1"/>
            <p:nvPr/>
          </p:nvSpPr>
          <p:spPr>
            <a:xfrm>
              <a:off x="9900770" y="1869438"/>
              <a:ext cx="1005917" cy="332399"/>
            </a:xfrm>
            <a:prstGeom prst="rect">
              <a:avLst/>
            </a:prstGeom>
            <a:noFill/>
          </p:spPr>
          <p:txBody>
            <a:bodyPr wrap="square" lIns="0" tIns="0" rIns="0" bIns="0" rtlCol="0">
              <a:spAutoFit/>
            </a:bodyPr>
            <a:lstStyle/>
            <a:p>
              <a:pPr>
                <a:lnSpc>
                  <a:spcPct val="90000"/>
                </a:lnSpc>
                <a:spcAft>
                  <a:spcPts val="588"/>
                </a:spcAft>
              </a:pPr>
              <a:r>
                <a:rPr lang="en-US" sz="1176" dirty="0">
                  <a:solidFill>
                    <a:srgbClr val="002050"/>
                  </a:solidFill>
                </a:rPr>
                <a:t>Microsoft account</a:t>
              </a:r>
            </a:p>
          </p:txBody>
        </p:sp>
      </p:grpSp>
      <p:sp>
        <p:nvSpPr>
          <p:cNvPr id="120" name="TextBox 119"/>
          <p:cNvSpPr txBox="1"/>
          <p:nvPr/>
        </p:nvSpPr>
        <p:spPr>
          <a:xfrm>
            <a:off x="4497666" y="5801755"/>
            <a:ext cx="1249941" cy="162932"/>
          </a:xfrm>
          <a:prstGeom prst="rect">
            <a:avLst/>
          </a:prstGeom>
          <a:noFill/>
        </p:spPr>
        <p:txBody>
          <a:bodyPr wrap="square" lIns="0" tIns="0" rIns="0" bIns="0" rtlCol="0">
            <a:spAutoFit/>
          </a:bodyPr>
          <a:lstStyle/>
          <a:p>
            <a:pPr>
              <a:lnSpc>
                <a:spcPct val="90000"/>
              </a:lnSpc>
              <a:spcAft>
                <a:spcPts val="588"/>
              </a:spcAft>
            </a:pPr>
            <a:r>
              <a:rPr lang="en-US" sz="1176" dirty="0">
                <a:solidFill>
                  <a:srgbClr val="002050"/>
                </a:solidFill>
              </a:rPr>
              <a:t>Identity options</a:t>
            </a:r>
          </a:p>
        </p:txBody>
      </p:sp>
      <p:sp>
        <p:nvSpPr>
          <p:cNvPr id="121" name="Left Brace 120"/>
          <p:cNvSpPr/>
          <p:nvPr/>
        </p:nvSpPr>
        <p:spPr>
          <a:xfrm>
            <a:off x="5650310" y="5302600"/>
            <a:ext cx="426138" cy="1186290"/>
          </a:xfrm>
          <a:prstGeom prst="leftBrace">
            <a:avLst>
              <a:gd name="adj1" fmla="val 39969"/>
              <a:gd name="adj2" fmla="val 50000"/>
            </a:avLst>
          </a:prstGeom>
          <a:ln w="19050">
            <a:solidFill>
              <a:srgbClr val="505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dirty="0">
              <a:solidFill>
                <a:srgbClr val="FFFFFF"/>
              </a:solidFill>
            </a:endParaRPr>
          </a:p>
        </p:txBody>
      </p:sp>
      <p:cxnSp>
        <p:nvCxnSpPr>
          <p:cNvPr id="124" name="Straight Arrow Connector 123"/>
          <p:cNvCxnSpPr/>
          <p:nvPr/>
        </p:nvCxnSpPr>
        <p:spPr>
          <a:xfrm flipV="1">
            <a:off x="5937586" y="3620017"/>
            <a:ext cx="500280" cy="3981"/>
          </a:xfrm>
          <a:prstGeom prst="straightConnector1">
            <a:avLst/>
          </a:prstGeom>
          <a:ln w="25400">
            <a:solidFill>
              <a:srgbClr val="50505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7" name="Arc 126"/>
          <p:cNvSpPr/>
          <p:nvPr/>
        </p:nvSpPr>
        <p:spPr>
          <a:xfrm rot="17297249">
            <a:off x="6552350" y="2665619"/>
            <a:ext cx="2857520" cy="2125396"/>
          </a:xfrm>
          <a:prstGeom prst="arc">
            <a:avLst>
              <a:gd name="adj1" fmla="val 16683556"/>
              <a:gd name="adj2" fmla="val 20965611"/>
            </a:avLst>
          </a:prstGeom>
          <a:ln w="25400">
            <a:solidFill>
              <a:srgbClr val="50505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FFFFFF"/>
              </a:solidFill>
            </a:endParaRPr>
          </a:p>
        </p:txBody>
      </p:sp>
      <p:grpSp>
        <p:nvGrpSpPr>
          <p:cNvPr id="128" name="Group 127"/>
          <p:cNvGrpSpPr/>
          <p:nvPr/>
        </p:nvGrpSpPr>
        <p:grpSpPr>
          <a:xfrm>
            <a:off x="8163599" y="2776663"/>
            <a:ext cx="995186" cy="648267"/>
            <a:chOff x="8327295" y="2831844"/>
            <a:chExt cx="938942" cy="661266"/>
          </a:xfrm>
        </p:grpSpPr>
        <p:cxnSp>
          <p:nvCxnSpPr>
            <p:cNvPr id="130" name="Elbow Connector 129"/>
            <p:cNvCxnSpPr/>
            <p:nvPr/>
          </p:nvCxnSpPr>
          <p:spPr>
            <a:xfrm rot="5400000">
              <a:off x="8346539" y="2913941"/>
              <a:ext cx="559925" cy="598413"/>
            </a:xfrm>
            <a:prstGeom prst="bentConnector3">
              <a:avLst/>
            </a:prstGeom>
            <a:ln w="25400">
              <a:solidFill>
                <a:srgbClr val="50505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555307" y="2831844"/>
              <a:ext cx="0" cy="373421"/>
            </a:xfrm>
            <a:prstGeom prst="line">
              <a:avLst/>
            </a:prstGeom>
            <a:ln w="25400">
              <a:solidFill>
                <a:srgbClr val="505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p:nvPr/>
          </p:nvCxnSpPr>
          <p:spPr>
            <a:xfrm rot="5400000">
              <a:off x="8905793" y="2852703"/>
              <a:ext cx="381303" cy="339585"/>
            </a:xfrm>
            <a:prstGeom prst="bentConnector2">
              <a:avLst/>
            </a:prstGeom>
            <a:ln w="25400">
              <a:solidFill>
                <a:srgbClr val="505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3257322" y="3582078"/>
            <a:ext cx="905622" cy="207608"/>
            <a:chOff x="3322637" y="3653409"/>
            <a:chExt cx="923782" cy="211771"/>
          </a:xfrm>
        </p:grpSpPr>
        <p:cxnSp>
          <p:nvCxnSpPr>
            <p:cNvPr id="138" name="Straight Arrow Connector 137"/>
            <p:cNvCxnSpPr/>
            <p:nvPr/>
          </p:nvCxnSpPr>
          <p:spPr>
            <a:xfrm>
              <a:off x="3322637" y="3865180"/>
              <a:ext cx="923782" cy="0"/>
            </a:xfrm>
            <a:prstGeom prst="straightConnector1">
              <a:avLst/>
            </a:prstGeom>
            <a:ln w="25400">
              <a:solidFill>
                <a:srgbClr val="00205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3620042" y="3653409"/>
              <a:ext cx="339348" cy="166199"/>
            </a:xfrm>
            <a:prstGeom prst="rect">
              <a:avLst/>
            </a:prstGeom>
            <a:solidFill>
              <a:schemeClr val="tx1"/>
            </a:solidFill>
          </p:spPr>
          <p:txBody>
            <a:bodyPr wrap="square" lIns="0" tIns="0" rIns="0" bIns="0" rtlCol="0">
              <a:spAutoFit/>
            </a:bodyPr>
            <a:lstStyle/>
            <a:p>
              <a:pPr algn="ctr">
                <a:lnSpc>
                  <a:spcPct val="90000"/>
                </a:lnSpc>
                <a:spcAft>
                  <a:spcPts val="588"/>
                </a:spcAft>
              </a:pPr>
              <a:r>
                <a:rPr lang="en-US" sz="1176" dirty="0">
                  <a:solidFill>
                    <a:srgbClr val="002050"/>
                  </a:solidFill>
                </a:rPr>
                <a:t>RDP</a:t>
              </a:r>
            </a:p>
          </p:txBody>
        </p:sp>
      </p:grpSp>
      <p:grpSp>
        <p:nvGrpSpPr>
          <p:cNvPr id="140" name="Group 139"/>
          <p:cNvGrpSpPr/>
          <p:nvPr/>
        </p:nvGrpSpPr>
        <p:grpSpPr>
          <a:xfrm>
            <a:off x="8215957" y="1636109"/>
            <a:ext cx="1365103" cy="1189944"/>
            <a:chOff x="8380704" y="1668419"/>
            <a:chExt cx="1392476" cy="1213805"/>
          </a:xfrm>
        </p:grpSpPr>
        <p:grpSp>
          <p:nvGrpSpPr>
            <p:cNvPr id="142" name="Group 141"/>
            <p:cNvGrpSpPr/>
            <p:nvPr/>
          </p:nvGrpSpPr>
          <p:grpSpPr>
            <a:xfrm>
              <a:off x="8380704" y="1825479"/>
              <a:ext cx="1120914" cy="1056745"/>
              <a:chOff x="8380704" y="1825479"/>
              <a:chExt cx="1120914" cy="1056745"/>
            </a:xfrm>
          </p:grpSpPr>
          <p:grpSp>
            <p:nvGrpSpPr>
              <p:cNvPr id="148" name="Group 147"/>
              <p:cNvGrpSpPr/>
              <p:nvPr/>
            </p:nvGrpSpPr>
            <p:grpSpPr>
              <a:xfrm>
                <a:off x="8380704" y="1825479"/>
                <a:ext cx="1120914" cy="959468"/>
                <a:chOff x="8339279" y="1825479"/>
                <a:chExt cx="1120914" cy="959468"/>
              </a:xfrm>
            </p:grpSpPr>
            <p:pic>
              <p:nvPicPr>
                <p:cNvPr id="156" name="Picture 155"/>
                <p:cNvPicPr>
                  <a:picLocks noChangeAspect="1"/>
                </p:cNvPicPr>
                <p:nvPr/>
              </p:nvPicPr>
              <p:blipFill>
                <a:blip r:embed="rId8"/>
                <a:stretch>
                  <a:fillRect/>
                </a:stretch>
              </p:blipFill>
              <p:spPr>
                <a:xfrm>
                  <a:off x="9020216" y="1825479"/>
                  <a:ext cx="439977" cy="959468"/>
                </a:xfrm>
                <a:prstGeom prst="rect">
                  <a:avLst/>
                </a:prstGeom>
              </p:spPr>
            </p:pic>
            <p:pic>
              <p:nvPicPr>
                <p:cNvPr id="157" name="Picture 156"/>
                <p:cNvPicPr>
                  <a:picLocks noChangeAspect="1"/>
                </p:cNvPicPr>
                <p:nvPr/>
              </p:nvPicPr>
              <p:blipFill>
                <a:blip r:embed="rId8"/>
                <a:stretch>
                  <a:fillRect/>
                </a:stretch>
              </p:blipFill>
              <p:spPr>
                <a:xfrm>
                  <a:off x="8339279" y="1825479"/>
                  <a:ext cx="439977" cy="959468"/>
                </a:xfrm>
                <a:prstGeom prst="rect">
                  <a:avLst/>
                </a:prstGeom>
              </p:spPr>
            </p:pic>
          </p:grpSp>
          <p:pic>
            <p:nvPicPr>
              <p:cNvPr id="155" name="Picture 154"/>
              <p:cNvPicPr>
                <a:picLocks noChangeAspect="1"/>
              </p:cNvPicPr>
              <p:nvPr/>
            </p:nvPicPr>
            <p:blipFill>
              <a:blip r:embed="rId8"/>
              <a:stretch>
                <a:fillRect/>
              </a:stretch>
            </p:blipFill>
            <p:spPr>
              <a:xfrm>
                <a:off x="8721173" y="1922756"/>
                <a:ext cx="439977" cy="959468"/>
              </a:xfrm>
              <a:prstGeom prst="rect">
                <a:avLst/>
              </a:prstGeom>
            </p:spPr>
          </p:pic>
        </p:grpSp>
        <p:grpSp>
          <p:nvGrpSpPr>
            <p:cNvPr id="143" name="Group 142"/>
            <p:cNvGrpSpPr/>
            <p:nvPr/>
          </p:nvGrpSpPr>
          <p:grpSpPr>
            <a:xfrm>
              <a:off x="8438089" y="1668419"/>
              <a:ext cx="1335091" cy="717085"/>
              <a:chOff x="8438089" y="1668419"/>
              <a:chExt cx="1335091" cy="717085"/>
            </a:xfrm>
          </p:grpSpPr>
          <p:grpSp>
            <p:nvGrpSpPr>
              <p:cNvPr id="144" name="Group 143"/>
              <p:cNvGrpSpPr/>
              <p:nvPr/>
            </p:nvGrpSpPr>
            <p:grpSpPr>
              <a:xfrm>
                <a:off x="8438089" y="1668419"/>
                <a:ext cx="1048460" cy="717085"/>
                <a:chOff x="8663912" y="1793812"/>
                <a:chExt cx="1238472" cy="847042"/>
              </a:xfrm>
            </p:grpSpPr>
            <p:sp>
              <p:nvSpPr>
                <p:cNvPr id="146" name="TextBox 145"/>
                <p:cNvSpPr txBox="1"/>
                <p:nvPr/>
              </p:nvSpPr>
              <p:spPr>
                <a:xfrm>
                  <a:off x="8703572" y="1793812"/>
                  <a:ext cx="1198812" cy="163599"/>
                </a:xfrm>
                <a:prstGeom prst="rect">
                  <a:avLst/>
                </a:prstGeom>
                <a:noFill/>
              </p:spPr>
              <p:txBody>
                <a:bodyPr wrap="square" lIns="0" tIns="0" rIns="0" bIns="0" rtlCol="0">
                  <a:spAutoFit/>
                </a:bodyPr>
                <a:lstStyle/>
                <a:p>
                  <a:pPr algn="ctr">
                    <a:lnSpc>
                      <a:spcPct val="90000"/>
                    </a:lnSpc>
                    <a:spcAft>
                      <a:spcPts val="588"/>
                    </a:spcAft>
                  </a:pPr>
                  <a:r>
                    <a:rPr lang="en-US" sz="980" dirty="0">
                      <a:solidFill>
                        <a:srgbClr val="002050"/>
                      </a:solidFill>
                    </a:rPr>
                    <a:t>Elastic runtime</a:t>
                  </a:r>
                </a:p>
              </p:txBody>
            </p:sp>
            <p:sp>
              <p:nvSpPr>
                <p:cNvPr id="147" name="TextBox 146"/>
                <p:cNvSpPr txBox="1"/>
                <p:nvPr/>
              </p:nvSpPr>
              <p:spPr>
                <a:xfrm>
                  <a:off x="8663912" y="2459077"/>
                  <a:ext cx="1193660" cy="181777"/>
                </a:xfrm>
                <a:prstGeom prst="rect">
                  <a:avLst/>
                </a:prstGeom>
                <a:noFill/>
              </p:spPr>
              <p:txBody>
                <a:bodyPr wrap="square" lIns="0" tIns="0" rIns="0" bIns="0" rtlCol="0">
                  <a:spAutoFit/>
                </a:bodyPr>
                <a:lstStyle/>
                <a:p>
                  <a:pPr algn="ctr">
                    <a:spcAft>
                      <a:spcPts val="588"/>
                    </a:spcAft>
                  </a:pPr>
                  <a:r>
                    <a:rPr lang="en-US" sz="980" dirty="0">
                      <a:gradFill>
                        <a:gsLst>
                          <a:gs pos="2917">
                            <a:srgbClr val="FFFFFF"/>
                          </a:gs>
                          <a:gs pos="30000">
                            <a:srgbClr val="FFFFFF"/>
                          </a:gs>
                        </a:gsLst>
                        <a:lin ang="5400000" scaled="0"/>
                      </a:gradFill>
                    </a:rPr>
                    <a:t>Session hosts</a:t>
                  </a:r>
                </a:p>
              </p:txBody>
            </p:sp>
          </p:grpSp>
          <p:sp>
            <p:nvSpPr>
              <p:cNvPr id="145" name="TextBox 144"/>
              <p:cNvSpPr txBox="1"/>
              <p:nvPr/>
            </p:nvSpPr>
            <p:spPr>
              <a:xfrm>
                <a:off x="9539894" y="2201961"/>
                <a:ext cx="233286" cy="166199"/>
              </a:xfrm>
              <a:prstGeom prst="rect">
                <a:avLst/>
              </a:prstGeom>
              <a:noFill/>
            </p:spPr>
            <p:txBody>
              <a:bodyPr wrap="square" lIns="0" tIns="0" rIns="0" bIns="0" rtlCol="0">
                <a:spAutoFit/>
              </a:bodyPr>
              <a:lstStyle/>
              <a:p>
                <a:pPr algn="ctr">
                  <a:lnSpc>
                    <a:spcPct val="90000"/>
                  </a:lnSpc>
                  <a:spcAft>
                    <a:spcPts val="588"/>
                  </a:spcAft>
                </a:pPr>
                <a:r>
                  <a:rPr lang="en-US" sz="1176" dirty="0">
                    <a:solidFill>
                      <a:srgbClr val="002050"/>
                    </a:solidFill>
                  </a:rPr>
                  <a:t>…</a:t>
                </a:r>
              </a:p>
            </p:txBody>
          </p:sp>
        </p:grpSp>
      </p:grpSp>
      <p:grpSp>
        <p:nvGrpSpPr>
          <p:cNvPr id="158" name="Group 157"/>
          <p:cNvGrpSpPr/>
          <p:nvPr/>
        </p:nvGrpSpPr>
        <p:grpSpPr>
          <a:xfrm>
            <a:off x="7530120" y="6040433"/>
            <a:ext cx="1922352" cy="298709"/>
            <a:chOff x="6630877" y="5864530"/>
            <a:chExt cx="1960899" cy="304699"/>
          </a:xfrm>
        </p:grpSpPr>
        <p:cxnSp>
          <p:nvCxnSpPr>
            <p:cNvPr id="160" name="Straight Arrow Connector 159"/>
            <p:cNvCxnSpPr/>
            <p:nvPr/>
          </p:nvCxnSpPr>
          <p:spPr>
            <a:xfrm>
              <a:off x="6630877" y="6030729"/>
              <a:ext cx="1960899" cy="0"/>
            </a:xfrm>
            <a:prstGeom prst="straightConnector1">
              <a:avLst/>
            </a:prstGeom>
            <a:noFill/>
            <a:ln w="31750" cap="sq" cmpd="sng" algn="ctr">
              <a:solidFill>
                <a:srgbClr val="0072C6"/>
              </a:solidFill>
              <a:prstDash val="sysDash"/>
              <a:headEnd type="triangle" w="med" len="med"/>
              <a:tailEnd type="triangle" w="med" len="med"/>
            </a:ln>
            <a:effectLst/>
          </p:spPr>
        </p:cxnSp>
        <p:sp>
          <p:nvSpPr>
            <p:cNvPr id="161" name="TextBox 160"/>
            <p:cNvSpPr txBox="1"/>
            <p:nvPr/>
          </p:nvSpPr>
          <p:spPr>
            <a:xfrm>
              <a:off x="6996800" y="5864530"/>
              <a:ext cx="1206188" cy="304699"/>
            </a:xfrm>
            <a:prstGeom prst="rect">
              <a:avLst/>
            </a:prstGeom>
            <a:solidFill>
              <a:srgbClr val="FFFFFF"/>
            </a:solidFill>
          </p:spPr>
          <p:txBody>
            <a:bodyPr wrap="square" lIns="0" tIns="0" rIns="0" bIns="0" rtlCol="0">
              <a:spAutoFit/>
            </a:bodyPr>
            <a:lstStyle/>
            <a:p>
              <a:pPr algn="ctr" defTabSz="896386">
                <a:lnSpc>
                  <a:spcPct val="90000"/>
                </a:lnSpc>
                <a:spcAft>
                  <a:spcPts val="588"/>
                </a:spcAft>
                <a:defRPr/>
              </a:pPr>
              <a:r>
                <a:rPr lang="en-US" sz="1078" kern="0" dirty="0">
                  <a:solidFill>
                    <a:srgbClr val="0072C6"/>
                  </a:solidFill>
                </a:rPr>
                <a:t>DirSync/Federation </a:t>
              </a:r>
              <a:br>
                <a:rPr lang="en-US" sz="1078" kern="0" dirty="0">
                  <a:solidFill>
                    <a:srgbClr val="0072C6"/>
                  </a:solidFill>
                </a:rPr>
              </a:br>
              <a:r>
                <a:rPr lang="en-US" sz="1078" kern="0" dirty="0">
                  <a:solidFill>
                    <a:srgbClr val="0072C6"/>
                  </a:solidFill>
                </a:rPr>
                <a:t>(optional)</a:t>
              </a:r>
            </a:p>
          </p:txBody>
        </p:sp>
      </p:grpSp>
      <p:grpSp>
        <p:nvGrpSpPr>
          <p:cNvPr id="162" name="Group 161"/>
          <p:cNvGrpSpPr/>
          <p:nvPr/>
        </p:nvGrpSpPr>
        <p:grpSpPr>
          <a:xfrm>
            <a:off x="4071047" y="3508684"/>
            <a:ext cx="546890" cy="546890"/>
            <a:chOff x="4152680" y="3578544"/>
            <a:chExt cx="557856" cy="557856"/>
          </a:xfrm>
        </p:grpSpPr>
        <p:sp>
          <p:nvSpPr>
            <p:cNvPr id="165" name="Oval 164"/>
            <p:cNvSpPr/>
            <p:nvPr/>
          </p:nvSpPr>
          <p:spPr bwMode="auto">
            <a:xfrm>
              <a:off x="4152680" y="3578544"/>
              <a:ext cx="557856" cy="557856"/>
            </a:xfrm>
            <a:prstGeom prst="ellipse">
              <a:avLst/>
            </a:prstGeom>
            <a:solidFill>
              <a:schemeClr val="tx1"/>
            </a:solid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7" name="Picture 166"/>
            <p:cNvPicPr>
              <a:picLocks noChangeAspect="1"/>
            </p:cNvPicPr>
            <p:nvPr/>
          </p:nvPicPr>
          <p:blipFill>
            <a:blip r:embed="rId9"/>
            <a:stretch>
              <a:fillRect/>
            </a:stretch>
          </p:blipFill>
          <p:spPr>
            <a:xfrm>
              <a:off x="4310948" y="3678636"/>
              <a:ext cx="241321" cy="357672"/>
            </a:xfrm>
            <a:prstGeom prst="rect">
              <a:avLst/>
            </a:prstGeom>
          </p:spPr>
        </p:pic>
      </p:grpSp>
      <p:grpSp>
        <p:nvGrpSpPr>
          <p:cNvPr id="168" name="Group 167"/>
          <p:cNvGrpSpPr/>
          <p:nvPr/>
        </p:nvGrpSpPr>
        <p:grpSpPr>
          <a:xfrm>
            <a:off x="4666266" y="3493176"/>
            <a:ext cx="1345476" cy="842730"/>
            <a:chOff x="4759834" y="3562725"/>
            <a:chExt cx="1372456" cy="859628"/>
          </a:xfrm>
        </p:grpSpPr>
        <p:grpSp>
          <p:nvGrpSpPr>
            <p:cNvPr id="169" name="Group 168"/>
            <p:cNvGrpSpPr/>
            <p:nvPr/>
          </p:nvGrpSpPr>
          <p:grpSpPr>
            <a:xfrm>
              <a:off x="4759834" y="3953615"/>
              <a:ext cx="1372456" cy="468738"/>
              <a:chOff x="5683708" y="3840765"/>
              <a:chExt cx="1372456" cy="468738"/>
            </a:xfrm>
          </p:grpSpPr>
          <p:sp>
            <p:nvSpPr>
              <p:cNvPr id="171" name="TextBox 170"/>
              <p:cNvSpPr txBox="1"/>
              <p:nvPr/>
            </p:nvSpPr>
            <p:spPr>
              <a:xfrm>
                <a:off x="5683708" y="4032504"/>
                <a:ext cx="1372456" cy="276999"/>
              </a:xfrm>
              <a:prstGeom prst="rect">
                <a:avLst/>
              </a:prstGeom>
              <a:noFill/>
            </p:spPr>
            <p:txBody>
              <a:bodyPr wrap="square" lIns="0" tIns="0" rIns="0" bIns="0" rtlCol="0">
                <a:spAutoFit/>
              </a:bodyPr>
              <a:lstStyle/>
              <a:p>
                <a:pPr algn="ctr">
                  <a:lnSpc>
                    <a:spcPct val="90000"/>
                  </a:lnSpc>
                  <a:spcAft>
                    <a:spcPts val="588"/>
                  </a:spcAft>
                </a:pPr>
                <a:r>
                  <a:rPr lang="en-US" sz="980" dirty="0">
                    <a:solidFill>
                      <a:srgbClr val="002050"/>
                    </a:solidFill>
                  </a:rPr>
                  <a:t>Persistent user data</a:t>
                </a:r>
                <a:br>
                  <a:rPr lang="en-US" sz="980" dirty="0">
                    <a:solidFill>
                      <a:srgbClr val="002050"/>
                    </a:solidFill>
                  </a:rPr>
                </a:br>
                <a:r>
                  <a:rPr lang="en-US" sz="980" dirty="0">
                    <a:solidFill>
                      <a:srgbClr val="002050"/>
                    </a:solidFill>
                  </a:rPr>
                  <a:t>(50GB per user)</a:t>
                </a:r>
              </a:p>
            </p:txBody>
          </p:sp>
          <p:sp>
            <p:nvSpPr>
              <p:cNvPr id="172" name="Freeform 511"/>
              <p:cNvSpPr>
                <a:spLocks/>
              </p:cNvSpPr>
              <p:nvPr/>
            </p:nvSpPr>
            <p:spPr bwMode="auto">
              <a:xfrm>
                <a:off x="6434353" y="3840765"/>
                <a:ext cx="1074" cy="1224"/>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980" kern="0" dirty="0">
                  <a:solidFill>
                    <a:srgbClr val="505050"/>
                  </a:solidFill>
                </a:endParaRPr>
              </a:p>
            </p:txBody>
          </p:sp>
        </p:grpSp>
        <p:pic>
          <p:nvPicPr>
            <p:cNvPr id="170" name="Picture 169"/>
            <p:cNvPicPr>
              <a:picLocks noChangeAspect="1"/>
            </p:cNvPicPr>
            <p:nvPr/>
          </p:nvPicPr>
          <p:blipFill>
            <a:blip r:embed="rId10"/>
            <a:stretch>
              <a:fillRect/>
            </a:stretch>
          </p:blipFill>
          <p:spPr>
            <a:xfrm>
              <a:off x="4869092" y="3562725"/>
              <a:ext cx="1148729" cy="467724"/>
            </a:xfrm>
            <a:prstGeom prst="rect">
              <a:avLst/>
            </a:prstGeom>
          </p:spPr>
        </p:pic>
      </p:grpSp>
      <p:grpSp>
        <p:nvGrpSpPr>
          <p:cNvPr id="173" name="Group 172"/>
          <p:cNvGrpSpPr/>
          <p:nvPr/>
        </p:nvGrpSpPr>
        <p:grpSpPr>
          <a:xfrm>
            <a:off x="8020696" y="3412435"/>
            <a:ext cx="1772052" cy="917977"/>
            <a:chOff x="8181527" y="3480365"/>
            <a:chExt cx="1807585" cy="936384"/>
          </a:xfrm>
        </p:grpSpPr>
        <p:grpSp>
          <p:nvGrpSpPr>
            <p:cNvPr id="174" name="Group 173"/>
            <p:cNvGrpSpPr/>
            <p:nvPr/>
          </p:nvGrpSpPr>
          <p:grpSpPr>
            <a:xfrm>
              <a:off x="8181527" y="3480365"/>
              <a:ext cx="1807585" cy="936384"/>
              <a:chOff x="5677601" y="4389221"/>
              <a:chExt cx="2480929" cy="1285198"/>
            </a:xfrm>
          </p:grpSpPr>
          <p:sp>
            <p:nvSpPr>
              <p:cNvPr id="176" name="TextBox 175"/>
              <p:cNvSpPr txBox="1"/>
              <p:nvPr/>
            </p:nvSpPr>
            <p:spPr>
              <a:xfrm>
                <a:off x="5677601" y="5294235"/>
                <a:ext cx="2480929" cy="380184"/>
              </a:xfrm>
              <a:prstGeom prst="rect">
                <a:avLst/>
              </a:prstGeom>
              <a:noFill/>
            </p:spPr>
            <p:txBody>
              <a:bodyPr wrap="square" lIns="0" tIns="0" rIns="0" bIns="0" rtlCol="0">
                <a:spAutoFit/>
              </a:bodyPr>
              <a:lstStyle/>
              <a:p>
                <a:pPr>
                  <a:lnSpc>
                    <a:spcPct val="90000"/>
                  </a:lnSpc>
                  <a:spcAft>
                    <a:spcPts val="588"/>
                  </a:spcAft>
                </a:pPr>
                <a:r>
                  <a:rPr lang="en-US" sz="980" dirty="0">
                    <a:solidFill>
                      <a:srgbClr val="002050"/>
                    </a:solidFill>
                  </a:rPr>
                  <a:t>Custom template image or prebuilt with Office</a:t>
                </a:r>
              </a:p>
            </p:txBody>
          </p:sp>
          <p:pic>
            <p:nvPicPr>
              <p:cNvPr id="177" name="Picture 17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94100" y="4389221"/>
                <a:ext cx="1665184" cy="425227"/>
              </a:xfrm>
              <a:prstGeom prst="rect">
                <a:avLst/>
              </a:prstGeom>
            </p:spPr>
          </p:pic>
          <p:pic>
            <p:nvPicPr>
              <p:cNvPr id="179" name="Picture 17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88334" y="4748311"/>
                <a:ext cx="854163" cy="394230"/>
              </a:xfrm>
              <a:prstGeom prst="rect">
                <a:avLst/>
              </a:prstGeom>
            </p:spPr>
          </p:pic>
        </p:grpSp>
        <p:pic>
          <p:nvPicPr>
            <p:cNvPr id="175" name="Picture 174"/>
            <p:cNvPicPr>
              <a:picLocks noChangeAspect="1"/>
            </p:cNvPicPr>
            <p:nvPr/>
          </p:nvPicPr>
          <p:blipFill>
            <a:blip r:embed="rId13"/>
            <a:stretch>
              <a:fillRect/>
            </a:stretch>
          </p:blipFill>
          <p:spPr>
            <a:xfrm>
              <a:off x="8252962" y="3563472"/>
              <a:ext cx="302345" cy="410076"/>
            </a:xfrm>
            <a:prstGeom prst="rect">
              <a:avLst/>
            </a:prstGeom>
          </p:spPr>
        </p:pic>
      </p:grpSp>
      <p:grpSp>
        <p:nvGrpSpPr>
          <p:cNvPr id="180" name="Group 179"/>
          <p:cNvGrpSpPr/>
          <p:nvPr/>
        </p:nvGrpSpPr>
        <p:grpSpPr>
          <a:xfrm>
            <a:off x="9603142" y="5510182"/>
            <a:ext cx="2284183" cy="978707"/>
            <a:chOff x="9795704" y="5620176"/>
            <a:chExt cx="2329986" cy="998332"/>
          </a:xfrm>
        </p:grpSpPr>
        <p:grpSp>
          <p:nvGrpSpPr>
            <p:cNvPr id="225" name="Group 224"/>
            <p:cNvGrpSpPr/>
            <p:nvPr/>
          </p:nvGrpSpPr>
          <p:grpSpPr>
            <a:xfrm>
              <a:off x="9795704" y="5620176"/>
              <a:ext cx="2329986" cy="998332"/>
              <a:chOff x="9532937" y="5555867"/>
              <a:chExt cx="2001490" cy="857581"/>
            </a:xfrm>
          </p:grpSpPr>
          <p:sp>
            <p:nvSpPr>
              <p:cNvPr id="228" name="Rectangle 227"/>
              <p:cNvSpPr/>
              <p:nvPr/>
            </p:nvSpPr>
            <p:spPr>
              <a:xfrm>
                <a:off x="9532937" y="5882736"/>
                <a:ext cx="2001489" cy="530712"/>
              </a:xfrm>
              <a:prstGeom prst="rect">
                <a:avLst/>
              </a:prstGeom>
              <a:solidFill>
                <a:srgbClr val="FFFFFF"/>
              </a:solidFill>
              <a:ln w="25400" cap="flat" cmpd="sng" algn="ctr">
                <a:solidFill>
                  <a:srgbClr val="0072C6"/>
                </a:solidFill>
                <a:prstDash val="solid"/>
              </a:ln>
              <a:effectLst/>
            </p:spPr>
            <p:txBody>
              <a:bodyPr tIns="91201" bIns="91201" rtlCol="0" anchor="t"/>
              <a:lstStyle/>
              <a:p>
                <a:pPr algn="ctr" defTabSz="896386">
                  <a:defRPr/>
                </a:pPr>
                <a:endParaRPr lang="en-US" sz="1795" b="1" kern="0" dirty="0">
                  <a:solidFill>
                    <a:srgbClr val="002050"/>
                  </a:solidFill>
                  <a:latin typeface="Segoe UI Light"/>
                </a:endParaRPr>
              </a:p>
            </p:txBody>
          </p:sp>
          <p:sp>
            <p:nvSpPr>
              <p:cNvPr id="229" name="Rectangle 228"/>
              <p:cNvSpPr/>
              <p:nvPr/>
            </p:nvSpPr>
            <p:spPr>
              <a:xfrm>
                <a:off x="9532939" y="5555867"/>
                <a:ext cx="2001488" cy="317261"/>
              </a:xfrm>
              <a:prstGeom prst="rect">
                <a:avLst/>
              </a:prstGeom>
            </p:spPr>
            <p:txBody>
              <a:bodyPr wrap="square">
                <a:spAutoFit/>
              </a:bodyPr>
              <a:lstStyle/>
              <a:p>
                <a:pPr algn="ctr" defTabSz="896386">
                  <a:defRPr/>
                </a:pPr>
                <a:r>
                  <a:rPr lang="en-US" sz="1765" kern="0" dirty="0">
                    <a:solidFill>
                      <a:srgbClr val="0072C6"/>
                    </a:solidFill>
                    <a:latin typeface="Segoe UI Semilight" panose="020B0402040204020203" pitchFamily="34" charset="0"/>
                    <a:cs typeface="Segoe UI Semilight" panose="020B0402040204020203" pitchFamily="34" charset="0"/>
                  </a:rPr>
                  <a:t>On-premises network</a:t>
                </a:r>
              </a:p>
            </p:txBody>
          </p:sp>
        </p:grpSp>
        <p:sp>
          <p:nvSpPr>
            <p:cNvPr id="226" name="TextBox 225"/>
            <p:cNvSpPr txBox="1"/>
            <p:nvPr/>
          </p:nvSpPr>
          <p:spPr>
            <a:xfrm>
              <a:off x="10624190" y="6151141"/>
              <a:ext cx="1335356" cy="332399"/>
            </a:xfrm>
            <a:prstGeom prst="rect">
              <a:avLst/>
            </a:prstGeom>
            <a:noFill/>
          </p:spPr>
          <p:txBody>
            <a:bodyPr wrap="square" lIns="0" tIns="0" rIns="0" bIns="0" rtlCol="0">
              <a:spAutoFit/>
            </a:bodyPr>
            <a:lstStyle/>
            <a:p>
              <a:pPr defTabSz="896386">
                <a:lnSpc>
                  <a:spcPct val="90000"/>
                </a:lnSpc>
                <a:spcAft>
                  <a:spcPts val="588"/>
                </a:spcAft>
                <a:defRPr/>
              </a:pPr>
              <a:r>
                <a:rPr lang="en-US" sz="1176" kern="0" dirty="0">
                  <a:solidFill>
                    <a:srgbClr val="0072C6"/>
                  </a:solidFill>
                </a:rPr>
                <a:t>Windows Server Active Directory</a:t>
              </a:r>
            </a:p>
          </p:txBody>
        </p:sp>
        <p:pic>
          <p:nvPicPr>
            <p:cNvPr id="227" name="Picture 226"/>
            <p:cNvPicPr>
              <a:picLocks noChangeAspect="1"/>
            </p:cNvPicPr>
            <p:nvPr/>
          </p:nvPicPr>
          <p:blipFill>
            <a:blip r:embed="rId14"/>
            <a:stretch>
              <a:fillRect/>
            </a:stretch>
          </p:blipFill>
          <p:spPr>
            <a:xfrm>
              <a:off x="9929096" y="6109526"/>
              <a:ext cx="657829" cy="435464"/>
            </a:xfrm>
            <a:prstGeom prst="rect">
              <a:avLst/>
            </a:prstGeom>
          </p:spPr>
        </p:pic>
      </p:grpSp>
      <p:grpSp>
        <p:nvGrpSpPr>
          <p:cNvPr id="230" name="Group 229"/>
          <p:cNvGrpSpPr/>
          <p:nvPr/>
        </p:nvGrpSpPr>
        <p:grpSpPr>
          <a:xfrm>
            <a:off x="6046580" y="5971223"/>
            <a:ext cx="1495990" cy="482955"/>
            <a:chOff x="6167826" y="6090461"/>
            <a:chExt cx="1525988" cy="492639"/>
          </a:xfrm>
        </p:grpSpPr>
        <p:sp>
          <p:nvSpPr>
            <p:cNvPr id="231" name="TextBox 230"/>
            <p:cNvSpPr txBox="1"/>
            <p:nvPr/>
          </p:nvSpPr>
          <p:spPr>
            <a:xfrm>
              <a:off x="6687897" y="6159526"/>
              <a:ext cx="1005917" cy="332399"/>
            </a:xfrm>
            <a:prstGeom prst="rect">
              <a:avLst/>
            </a:prstGeom>
            <a:noFill/>
          </p:spPr>
          <p:txBody>
            <a:bodyPr wrap="square" lIns="0" tIns="0" rIns="0" bIns="0" rtlCol="0">
              <a:spAutoFit/>
            </a:bodyPr>
            <a:lstStyle/>
            <a:p>
              <a:pPr defTabSz="896386">
                <a:lnSpc>
                  <a:spcPct val="90000"/>
                </a:lnSpc>
                <a:spcAft>
                  <a:spcPts val="588"/>
                </a:spcAft>
                <a:defRPr/>
              </a:pPr>
              <a:r>
                <a:rPr lang="en-US" sz="1176" kern="0" dirty="0">
                  <a:solidFill>
                    <a:srgbClr val="0072C6"/>
                  </a:solidFill>
                </a:rPr>
                <a:t>Azure Active Directory</a:t>
              </a:r>
            </a:p>
          </p:txBody>
        </p:sp>
        <p:pic>
          <p:nvPicPr>
            <p:cNvPr id="232" name="Picture 231"/>
            <p:cNvPicPr>
              <a:picLocks noChangeAspect="1"/>
            </p:cNvPicPr>
            <p:nvPr/>
          </p:nvPicPr>
          <p:blipFill>
            <a:blip r:embed="rId15"/>
            <a:stretch>
              <a:fillRect/>
            </a:stretch>
          </p:blipFill>
          <p:spPr>
            <a:xfrm>
              <a:off x="6167826" y="6090461"/>
              <a:ext cx="496745" cy="492639"/>
            </a:xfrm>
            <a:prstGeom prst="rect">
              <a:avLst/>
            </a:prstGeom>
          </p:spPr>
        </p:pic>
      </p:grpSp>
      <p:grpSp>
        <p:nvGrpSpPr>
          <p:cNvPr id="233" name="Group 232"/>
          <p:cNvGrpSpPr/>
          <p:nvPr/>
        </p:nvGrpSpPr>
        <p:grpSpPr>
          <a:xfrm>
            <a:off x="1809646" y="876304"/>
            <a:ext cx="4974284" cy="5012698"/>
            <a:chOff x="1816297" y="1132731"/>
            <a:chExt cx="5074029" cy="4980637"/>
          </a:xfrm>
        </p:grpSpPr>
        <p:sp>
          <p:nvSpPr>
            <p:cNvPr id="234" name="Arc 233"/>
            <p:cNvSpPr/>
            <p:nvPr/>
          </p:nvSpPr>
          <p:spPr>
            <a:xfrm rot="10800000">
              <a:off x="1816297" y="1132731"/>
              <a:ext cx="5074029" cy="4980637"/>
            </a:xfrm>
            <a:prstGeom prst="arc">
              <a:avLst>
                <a:gd name="adj1" fmla="val 16200000"/>
                <a:gd name="adj2" fmla="val 19932039"/>
              </a:avLst>
            </a:prstGeom>
            <a:ln w="25400">
              <a:solidFill>
                <a:srgbClr val="505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FFFFFF"/>
                </a:solidFill>
              </a:endParaRPr>
            </a:p>
          </p:txBody>
        </p:sp>
        <p:sp>
          <p:nvSpPr>
            <p:cNvPr id="235" name="TextBox 234"/>
            <p:cNvSpPr txBox="1"/>
            <p:nvPr/>
          </p:nvSpPr>
          <p:spPr>
            <a:xfrm>
              <a:off x="2162532" y="5408431"/>
              <a:ext cx="1367218" cy="350865"/>
            </a:xfrm>
            <a:prstGeom prst="rect">
              <a:avLst/>
            </a:prstGeom>
            <a:solidFill>
              <a:schemeClr val="tx1"/>
            </a:solidFill>
          </p:spPr>
          <p:txBody>
            <a:bodyPr wrap="square" lIns="179285" tIns="89642" rIns="179285" bIns="89642" rtlCol="0">
              <a:spAutoFit/>
            </a:bodyPr>
            <a:lstStyle/>
            <a:p>
              <a:pPr>
                <a:lnSpc>
                  <a:spcPct val="90000"/>
                </a:lnSpc>
                <a:spcAft>
                  <a:spcPts val="588"/>
                </a:spcAft>
              </a:pPr>
              <a:r>
                <a:rPr lang="en-US" sz="1176" dirty="0">
                  <a:solidFill>
                    <a:srgbClr val="002050"/>
                  </a:solidFill>
                </a:rPr>
                <a:t>Authentication</a:t>
              </a:r>
            </a:p>
          </p:txBody>
        </p:sp>
      </p:grpSp>
      <p:grpSp>
        <p:nvGrpSpPr>
          <p:cNvPr id="236" name="Group 235"/>
          <p:cNvGrpSpPr/>
          <p:nvPr/>
        </p:nvGrpSpPr>
        <p:grpSpPr>
          <a:xfrm>
            <a:off x="94030" y="3137426"/>
            <a:ext cx="3163292" cy="1312235"/>
            <a:chOff x="95914" y="3199841"/>
            <a:chExt cx="3226723" cy="1338548"/>
          </a:xfrm>
        </p:grpSpPr>
        <p:grpSp>
          <p:nvGrpSpPr>
            <p:cNvPr id="237" name="Group 236"/>
            <p:cNvGrpSpPr/>
            <p:nvPr/>
          </p:nvGrpSpPr>
          <p:grpSpPr>
            <a:xfrm>
              <a:off x="95914" y="3213209"/>
              <a:ext cx="1019013" cy="1325180"/>
              <a:chOff x="230972" y="3233495"/>
              <a:chExt cx="914187" cy="1188858"/>
            </a:xfrm>
          </p:grpSpPr>
          <p:pic>
            <p:nvPicPr>
              <p:cNvPr id="247" name="Picture 246"/>
              <p:cNvPicPr>
                <a:picLocks noChangeAspect="1"/>
              </p:cNvPicPr>
              <p:nvPr/>
            </p:nvPicPr>
            <p:blipFill rotWithShape="1">
              <a:blip r:embed="rId16"/>
              <a:srcRect b="37412"/>
              <a:stretch/>
            </p:blipFill>
            <p:spPr>
              <a:xfrm>
                <a:off x="356949" y="3233495"/>
                <a:ext cx="697330" cy="1188858"/>
              </a:xfrm>
              <a:prstGeom prst="rect">
                <a:avLst/>
              </a:prstGeom>
            </p:spPr>
          </p:pic>
          <p:sp>
            <p:nvSpPr>
              <p:cNvPr id="248" name="TextBox 247"/>
              <p:cNvSpPr txBox="1"/>
              <p:nvPr/>
            </p:nvSpPr>
            <p:spPr bwMode="auto">
              <a:xfrm>
                <a:off x="230972" y="3871499"/>
                <a:ext cx="914187" cy="435572"/>
              </a:xfrm>
              <a:prstGeom prst="rect">
                <a:avLst/>
              </a:prstGeom>
              <a:noFill/>
            </p:spPr>
            <p:txBody>
              <a:bodyPr wrap="square" lIns="179285" tIns="143428" rIns="179285" bIns="143428">
                <a:spAutoFit/>
              </a:bodyPr>
              <a:lstStyle/>
              <a:p>
                <a:pPr defTabSz="914314">
                  <a:lnSpc>
                    <a:spcPct val="90000"/>
                  </a:lnSpc>
                  <a:defRPr/>
                </a:pPr>
                <a:r>
                  <a:rPr lang="en-US" sz="1372" dirty="0">
                    <a:solidFill>
                      <a:srgbClr val="505050">
                        <a:lumMod val="65000"/>
                        <a:lumOff val="35000"/>
                      </a:srgbClr>
                    </a:solidFill>
                    <a:latin typeface="Segoe UI Light" panose="020B0502040204020203" pitchFamily="34" charset="0"/>
                    <a:cs typeface="Segoe UI Light" panose="020B0502040204020203" pitchFamily="34" charset="0"/>
                  </a:rPr>
                  <a:t>User</a:t>
                </a:r>
              </a:p>
            </p:txBody>
          </p:sp>
        </p:grpSp>
        <p:grpSp>
          <p:nvGrpSpPr>
            <p:cNvPr id="238" name="Group 237"/>
            <p:cNvGrpSpPr/>
            <p:nvPr/>
          </p:nvGrpSpPr>
          <p:grpSpPr>
            <a:xfrm>
              <a:off x="1081497" y="3199841"/>
              <a:ext cx="2241140" cy="1338548"/>
              <a:chOff x="2402089" y="3208218"/>
              <a:chExt cx="1946410" cy="1162517"/>
            </a:xfrm>
          </p:grpSpPr>
          <p:pic>
            <p:nvPicPr>
              <p:cNvPr id="239" name="Picture 238"/>
              <p:cNvPicPr>
                <a:picLocks noChangeAspect="1"/>
              </p:cNvPicPr>
              <p:nvPr/>
            </p:nvPicPr>
            <p:blipFill>
              <a:blip r:embed="rId17"/>
              <a:stretch>
                <a:fillRect/>
              </a:stretch>
            </p:blipFill>
            <p:spPr>
              <a:xfrm>
                <a:off x="2402089" y="3861750"/>
                <a:ext cx="991732" cy="508985"/>
              </a:xfrm>
              <a:prstGeom prst="rect">
                <a:avLst/>
              </a:prstGeom>
            </p:spPr>
          </p:pic>
          <p:pic>
            <p:nvPicPr>
              <p:cNvPr id="240" name="Picture 239"/>
              <p:cNvPicPr>
                <a:picLocks noChangeAspect="1"/>
              </p:cNvPicPr>
              <p:nvPr/>
            </p:nvPicPr>
            <p:blipFill>
              <a:blip r:embed="rId18"/>
              <a:stretch>
                <a:fillRect/>
              </a:stretch>
            </p:blipFill>
            <p:spPr>
              <a:xfrm>
                <a:off x="2811322" y="3977450"/>
                <a:ext cx="173266" cy="213542"/>
              </a:xfrm>
              <a:prstGeom prst="rect">
                <a:avLst/>
              </a:prstGeom>
            </p:spPr>
          </p:pic>
          <p:pic>
            <p:nvPicPr>
              <p:cNvPr id="241" name="Picture 240"/>
              <p:cNvPicPr>
                <a:picLocks noChangeAspect="1"/>
              </p:cNvPicPr>
              <p:nvPr/>
            </p:nvPicPr>
            <p:blipFill>
              <a:blip r:embed="rId19"/>
              <a:stretch>
                <a:fillRect/>
              </a:stretch>
            </p:blipFill>
            <p:spPr>
              <a:xfrm>
                <a:off x="3358199" y="3208218"/>
                <a:ext cx="990300" cy="508250"/>
              </a:xfrm>
              <a:prstGeom prst="rect">
                <a:avLst/>
              </a:prstGeom>
            </p:spPr>
          </p:pic>
          <p:pic>
            <p:nvPicPr>
              <p:cNvPr id="242" name="Picture 241"/>
              <p:cNvPicPr>
                <a:picLocks noChangeAspect="1"/>
              </p:cNvPicPr>
              <p:nvPr/>
            </p:nvPicPr>
            <p:blipFill>
              <a:blip r:embed="rId20"/>
              <a:stretch>
                <a:fillRect/>
              </a:stretch>
            </p:blipFill>
            <p:spPr>
              <a:xfrm>
                <a:off x="3744240" y="3351550"/>
                <a:ext cx="186869" cy="188702"/>
              </a:xfrm>
              <a:prstGeom prst="rect">
                <a:avLst/>
              </a:prstGeom>
            </p:spPr>
          </p:pic>
          <p:pic>
            <p:nvPicPr>
              <p:cNvPr id="243" name="Picture 242"/>
              <p:cNvPicPr>
                <a:picLocks noChangeAspect="1"/>
              </p:cNvPicPr>
              <p:nvPr/>
            </p:nvPicPr>
            <p:blipFill>
              <a:blip r:embed="rId21"/>
              <a:stretch>
                <a:fillRect/>
              </a:stretch>
            </p:blipFill>
            <p:spPr>
              <a:xfrm>
                <a:off x="2511434" y="3208218"/>
                <a:ext cx="773040" cy="499899"/>
              </a:xfrm>
              <a:prstGeom prst="rect">
                <a:avLst/>
              </a:prstGeom>
            </p:spPr>
          </p:pic>
          <p:pic>
            <p:nvPicPr>
              <p:cNvPr id="244" name="Picture 243"/>
              <p:cNvPicPr>
                <a:picLocks noChangeAspect="1"/>
              </p:cNvPicPr>
              <p:nvPr/>
            </p:nvPicPr>
            <p:blipFill>
              <a:blip r:embed="rId22"/>
              <a:stretch>
                <a:fillRect/>
              </a:stretch>
            </p:blipFill>
            <p:spPr>
              <a:xfrm>
                <a:off x="2798788" y="3349557"/>
                <a:ext cx="198332" cy="217221"/>
              </a:xfrm>
              <a:prstGeom prst="rect">
                <a:avLst/>
              </a:prstGeom>
            </p:spPr>
          </p:pic>
          <p:pic>
            <p:nvPicPr>
              <p:cNvPr id="245" name="Picture 244"/>
              <p:cNvPicPr>
                <a:picLocks noChangeAspect="1"/>
              </p:cNvPicPr>
              <p:nvPr/>
            </p:nvPicPr>
            <p:blipFill>
              <a:blip r:embed="rId23"/>
              <a:stretch>
                <a:fillRect/>
              </a:stretch>
            </p:blipFill>
            <p:spPr>
              <a:xfrm>
                <a:off x="3463966" y="3861750"/>
                <a:ext cx="778765" cy="505305"/>
              </a:xfrm>
              <a:prstGeom prst="rect">
                <a:avLst/>
              </a:prstGeom>
            </p:spPr>
          </p:pic>
          <p:pic>
            <p:nvPicPr>
              <p:cNvPr id="246" name="Picture 245"/>
              <p:cNvPicPr>
                <a:picLocks noChangeAspect="1"/>
              </p:cNvPicPr>
              <p:nvPr/>
            </p:nvPicPr>
            <p:blipFill>
              <a:blip r:embed="rId18"/>
              <a:stretch>
                <a:fillRect/>
              </a:stretch>
            </p:blipFill>
            <p:spPr>
              <a:xfrm>
                <a:off x="3730511" y="3949826"/>
                <a:ext cx="214324" cy="264144"/>
              </a:xfrm>
              <a:prstGeom prst="rect">
                <a:avLst/>
              </a:prstGeom>
            </p:spPr>
          </p:pic>
        </p:grpSp>
      </p:grpSp>
      <p:pic>
        <p:nvPicPr>
          <p:cNvPr id="82" name="Picture 81"/>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11765" y="3743206"/>
            <a:ext cx="251654" cy="251654"/>
          </a:xfrm>
          <a:prstGeom prst="rect">
            <a:avLst/>
          </a:prstGeom>
        </p:spPr>
      </p:pic>
      <p:pic>
        <p:nvPicPr>
          <p:cNvPr id="83" name="Picture 8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675145" y="3721108"/>
            <a:ext cx="282494" cy="282494"/>
          </a:xfrm>
          <a:prstGeom prst="rect">
            <a:avLst/>
          </a:prstGeom>
        </p:spPr>
      </p:pic>
    </p:spTree>
    <p:extLst>
      <p:ext uri="{BB962C8B-B14F-4D97-AF65-F5344CB8AC3E}">
        <p14:creationId xmlns:p14="http://schemas.microsoft.com/office/powerpoint/2010/main" val="413639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anim calcmode="lin" valueType="num">
                                      <p:cBhvr>
                                        <p:cTn id="8" dur="1000" fill="hold"/>
                                        <p:tgtEl>
                                          <p:spTgt spid="100"/>
                                        </p:tgtEl>
                                        <p:attrNameLst>
                                          <p:attrName>ppt_x</p:attrName>
                                        </p:attrNameLst>
                                      </p:cBhvr>
                                      <p:tavLst>
                                        <p:tav tm="0">
                                          <p:val>
                                            <p:strVal val="#ppt_x"/>
                                          </p:val>
                                        </p:tav>
                                        <p:tav tm="100000">
                                          <p:val>
                                            <p:strVal val="#ppt_x"/>
                                          </p:val>
                                        </p:tav>
                                      </p:tavLst>
                                    </p:anim>
                                    <p:anim calcmode="lin" valueType="num">
                                      <p:cBhvr>
                                        <p:cTn id="9" dur="1000" fill="hold"/>
                                        <p:tgtEl>
                                          <p:spTgt spid="10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73"/>
                                        </p:tgtEl>
                                        <p:attrNameLst>
                                          <p:attrName>style.visibility</p:attrName>
                                        </p:attrNameLst>
                                      </p:cBhvr>
                                      <p:to>
                                        <p:strVal val="visible"/>
                                      </p:to>
                                    </p:set>
                                    <p:animEffect transition="in" filter="fade">
                                      <p:cBhvr>
                                        <p:cTn id="14" dur="500"/>
                                        <p:tgtEl>
                                          <p:spTgt spid="17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28"/>
                                        </p:tgtEl>
                                        <p:attrNameLst>
                                          <p:attrName>style.visibility</p:attrName>
                                        </p:attrNameLst>
                                      </p:cBhvr>
                                      <p:to>
                                        <p:strVal val="visible"/>
                                      </p:to>
                                    </p:set>
                                    <p:animEffect transition="in" filter="wipe(down)">
                                      <p:cBhvr>
                                        <p:cTn id="19" dur="500"/>
                                        <p:tgtEl>
                                          <p:spTgt spid="12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40"/>
                                        </p:tgtEl>
                                        <p:attrNameLst>
                                          <p:attrName>style.visibility</p:attrName>
                                        </p:attrNameLst>
                                      </p:cBhvr>
                                      <p:to>
                                        <p:strVal val="visible"/>
                                      </p:to>
                                    </p:set>
                                    <p:animEffect transition="in" filter="fade">
                                      <p:cBhvr>
                                        <p:cTn id="23" dur="500"/>
                                        <p:tgtEl>
                                          <p:spTgt spid="14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grpId="0" nodeType="clickEffect">
                                  <p:stCondLst>
                                    <p:cond delay="0"/>
                                  </p:stCondLst>
                                  <p:childTnLst>
                                    <p:set>
                                      <p:cBhvr>
                                        <p:cTn id="27" dur="1" fill="hold">
                                          <p:stCondLst>
                                            <p:cond delay="0"/>
                                          </p:stCondLst>
                                        </p:cTn>
                                        <p:tgtEl>
                                          <p:spTgt spid="127"/>
                                        </p:tgtEl>
                                        <p:attrNameLst>
                                          <p:attrName>style.visibility</p:attrName>
                                        </p:attrNameLst>
                                      </p:cBhvr>
                                      <p:to>
                                        <p:strVal val="visible"/>
                                      </p:to>
                                    </p:set>
                                    <p:animEffect transition="in" filter="wipe(right)">
                                      <p:cBhvr>
                                        <p:cTn id="28" dur="500"/>
                                        <p:tgtEl>
                                          <p:spTgt spid="127"/>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05"/>
                                        </p:tgtEl>
                                        <p:attrNameLst>
                                          <p:attrName>style.visibility</p:attrName>
                                        </p:attrNameLst>
                                      </p:cBhvr>
                                      <p:to>
                                        <p:strVal val="visible"/>
                                      </p:to>
                                    </p:set>
                                    <p:animEffect transition="in" filter="fade">
                                      <p:cBhvr>
                                        <p:cTn id="32" dur="500"/>
                                        <p:tgtEl>
                                          <p:spTgt spid="105"/>
                                        </p:tgtEl>
                                      </p:cBhvr>
                                    </p:animEffect>
                                  </p:childTnLst>
                                </p:cTn>
                              </p:par>
                              <p:par>
                                <p:cTn id="33" presetID="10"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nodeType="with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36"/>
                                        </p:tgtEl>
                                        <p:attrNameLst>
                                          <p:attrName>style.visibility</p:attrName>
                                        </p:attrNameLst>
                                      </p:cBhvr>
                                      <p:to>
                                        <p:strVal val="visible"/>
                                      </p:to>
                                    </p:set>
                                    <p:animEffect transition="in" filter="fade">
                                      <p:cBhvr>
                                        <p:cTn id="43" dur="500"/>
                                        <p:tgtEl>
                                          <p:spTgt spid="236"/>
                                        </p:tgtEl>
                                      </p:cBhvr>
                                    </p:animEffect>
                                  </p:childTnLst>
                                </p:cTn>
                              </p:par>
                            </p:childTnLst>
                          </p:cTn>
                        </p:par>
                        <p:par>
                          <p:cTn id="44" fill="hold">
                            <p:stCondLst>
                              <p:cond delay="500"/>
                            </p:stCondLst>
                            <p:childTnLst>
                              <p:par>
                                <p:cTn id="45" presetID="22" presetClass="entr" presetSubtype="1" fill="hold" nodeType="afterEffect">
                                  <p:stCondLst>
                                    <p:cond delay="0"/>
                                  </p:stCondLst>
                                  <p:childTnLst>
                                    <p:set>
                                      <p:cBhvr>
                                        <p:cTn id="46" dur="1" fill="hold">
                                          <p:stCondLst>
                                            <p:cond delay="0"/>
                                          </p:stCondLst>
                                        </p:cTn>
                                        <p:tgtEl>
                                          <p:spTgt spid="233"/>
                                        </p:tgtEl>
                                        <p:attrNameLst>
                                          <p:attrName>style.visibility</p:attrName>
                                        </p:attrNameLst>
                                      </p:cBhvr>
                                      <p:to>
                                        <p:strVal val="visible"/>
                                      </p:to>
                                    </p:set>
                                    <p:animEffect transition="in" filter="wipe(up)">
                                      <p:cBhvr>
                                        <p:cTn id="47" dur="500"/>
                                        <p:tgtEl>
                                          <p:spTgt spid="233"/>
                                        </p:tgtEl>
                                      </p:cBhvr>
                                    </p:animEffect>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20"/>
                                        </p:tgtEl>
                                        <p:attrNameLst>
                                          <p:attrName>style.visibility</p:attrName>
                                        </p:attrNameLst>
                                      </p:cBhvr>
                                      <p:to>
                                        <p:strVal val="visible"/>
                                      </p:to>
                                    </p:set>
                                    <p:animEffect transition="in" filter="fade">
                                      <p:cBhvr>
                                        <p:cTn id="51" dur="500"/>
                                        <p:tgtEl>
                                          <p:spTgt spid="120"/>
                                        </p:tgtEl>
                                      </p:cBhvr>
                                    </p:animEffect>
                                  </p:childTnLst>
                                </p:cTn>
                              </p:par>
                            </p:childTnLst>
                          </p:cTn>
                        </p:par>
                        <p:par>
                          <p:cTn id="52" fill="hold">
                            <p:stCondLst>
                              <p:cond delay="1500"/>
                            </p:stCondLst>
                            <p:childTnLst>
                              <p:par>
                                <p:cTn id="53" presetID="22" presetClass="entr" presetSubtype="8" fill="hold" grpId="0" nodeType="afterEffect">
                                  <p:stCondLst>
                                    <p:cond delay="0"/>
                                  </p:stCondLst>
                                  <p:childTnLst>
                                    <p:set>
                                      <p:cBhvr>
                                        <p:cTn id="54" dur="1" fill="hold">
                                          <p:stCondLst>
                                            <p:cond delay="0"/>
                                          </p:stCondLst>
                                        </p:cTn>
                                        <p:tgtEl>
                                          <p:spTgt spid="121"/>
                                        </p:tgtEl>
                                        <p:attrNameLst>
                                          <p:attrName>style.visibility</p:attrName>
                                        </p:attrNameLst>
                                      </p:cBhvr>
                                      <p:to>
                                        <p:strVal val="visible"/>
                                      </p:to>
                                    </p:set>
                                    <p:animEffect transition="in" filter="wipe(left)">
                                      <p:cBhvr>
                                        <p:cTn id="55" dur="500"/>
                                        <p:tgtEl>
                                          <p:spTgt spid="121"/>
                                        </p:tgtEl>
                                      </p:cBhvr>
                                    </p:animEffect>
                                  </p:childTnLst>
                                </p:cTn>
                              </p:par>
                            </p:childTnLst>
                          </p:cTn>
                        </p:par>
                        <p:par>
                          <p:cTn id="56" fill="hold">
                            <p:stCondLst>
                              <p:cond delay="2000"/>
                            </p:stCondLst>
                            <p:childTnLst>
                              <p:par>
                                <p:cTn id="57" presetID="10" presetClass="entr" presetSubtype="0" fill="hold" nodeType="afterEffect">
                                  <p:stCondLst>
                                    <p:cond delay="0"/>
                                  </p:stCondLst>
                                  <p:childTnLst>
                                    <p:set>
                                      <p:cBhvr>
                                        <p:cTn id="58" dur="1" fill="hold">
                                          <p:stCondLst>
                                            <p:cond delay="0"/>
                                          </p:stCondLst>
                                        </p:cTn>
                                        <p:tgtEl>
                                          <p:spTgt spid="114"/>
                                        </p:tgtEl>
                                        <p:attrNameLst>
                                          <p:attrName>style.visibility</p:attrName>
                                        </p:attrNameLst>
                                      </p:cBhvr>
                                      <p:to>
                                        <p:strVal val="visible"/>
                                      </p:to>
                                    </p:set>
                                    <p:animEffect transition="in" filter="fade">
                                      <p:cBhvr>
                                        <p:cTn id="59" dur="500"/>
                                        <p:tgtEl>
                                          <p:spTgt spid="114"/>
                                        </p:tgtEl>
                                      </p:cBhvr>
                                    </p:animEffect>
                                  </p:childTnLst>
                                </p:cTn>
                              </p:par>
                              <p:par>
                                <p:cTn id="60" presetID="10" presetClass="entr" presetSubtype="0" fill="hold" nodeType="withEffect">
                                  <p:stCondLst>
                                    <p:cond delay="0"/>
                                  </p:stCondLst>
                                  <p:childTnLst>
                                    <p:set>
                                      <p:cBhvr>
                                        <p:cTn id="61" dur="1" fill="hold">
                                          <p:stCondLst>
                                            <p:cond delay="0"/>
                                          </p:stCondLst>
                                        </p:cTn>
                                        <p:tgtEl>
                                          <p:spTgt spid="230"/>
                                        </p:tgtEl>
                                        <p:attrNameLst>
                                          <p:attrName>style.visibility</p:attrName>
                                        </p:attrNameLst>
                                      </p:cBhvr>
                                      <p:to>
                                        <p:strVal val="visible"/>
                                      </p:to>
                                    </p:set>
                                    <p:animEffect transition="in" filter="fade">
                                      <p:cBhvr>
                                        <p:cTn id="62" dur="500"/>
                                        <p:tgtEl>
                                          <p:spTgt spid="230"/>
                                        </p:tgtEl>
                                      </p:cBhvr>
                                    </p:animEffect>
                                  </p:childTnLst>
                                </p:cTn>
                              </p:par>
                            </p:childTnLst>
                          </p:cTn>
                        </p:par>
                        <p:par>
                          <p:cTn id="63" fill="hold">
                            <p:stCondLst>
                              <p:cond delay="2500"/>
                            </p:stCondLst>
                            <p:childTnLst>
                              <p:par>
                                <p:cTn id="64" presetID="22" presetClass="entr" presetSubtype="8" fill="hold" nodeType="afterEffect">
                                  <p:stCondLst>
                                    <p:cond delay="0"/>
                                  </p:stCondLst>
                                  <p:childTnLst>
                                    <p:set>
                                      <p:cBhvr>
                                        <p:cTn id="65" dur="1" fill="hold">
                                          <p:stCondLst>
                                            <p:cond delay="0"/>
                                          </p:stCondLst>
                                        </p:cTn>
                                        <p:tgtEl>
                                          <p:spTgt spid="158"/>
                                        </p:tgtEl>
                                        <p:attrNameLst>
                                          <p:attrName>style.visibility</p:attrName>
                                        </p:attrNameLst>
                                      </p:cBhvr>
                                      <p:to>
                                        <p:strVal val="visible"/>
                                      </p:to>
                                    </p:set>
                                    <p:animEffect transition="in" filter="wipe(left)">
                                      <p:cBhvr>
                                        <p:cTn id="66" dur="500"/>
                                        <p:tgtEl>
                                          <p:spTgt spid="158"/>
                                        </p:tgtEl>
                                      </p:cBhvr>
                                    </p:animEffect>
                                  </p:childTnLst>
                                </p:cTn>
                              </p:par>
                              <p:par>
                                <p:cTn id="67" presetID="10" presetClass="entr" presetSubtype="0" fill="hold" nodeType="withEffect">
                                  <p:stCondLst>
                                    <p:cond delay="0"/>
                                  </p:stCondLst>
                                  <p:childTnLst>
                                    <p:set>
                                      <p:cBhvr>
                                        <p:cTn id="68" dur="1" fill="hold">
                                          <p:stCondLst>
                                            <p:cond delay="0"/>
                                          </p:stCondLst>
                                        </p:cTn>
                                        <p:tgtEl>
                                          <p:spTgt spid="180"/>
                                        </p:tgtEl>
                                        <p:attrNameLst>
                                          <p:attrName>style.visibility</p:attrName>
                                        </p:attrNameLst>
                                      </p:cBhvr>
                                      <p:to>
                                        <p:strVal val="visible"/>
                                      </p:to>
                                    </p:set>
                                    <p:animEffect transition="in" filter="fade">
                                      <p:cBhvr>
                                        <p:cTn id="69" dur="500"/>
                                        <p:tgtEl>
                                          <p:spTgt spid="180"/>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62"/>
                                        </p:tgtEl>
                                        <p:attrNameLst>
                                          <p:attrName>style.visibility</p:attrName>
                                        </p:attrNameLst>
                                      </p:cBhvr>
                                      <p:to>
                                        <p:strVal val="visible"/>
                                      </p:to>
                                    </p:set>
                                    <p:animEffect transition="in" filter="fade">
                                      <p:cBhvr>
                                        <p:cTn id="74" dur="500"/>
                                        <p:tgtEl>
                                          <p:spTgt spid="162"/>
                                        </p:tgtEl>
                                      </p:cBhvr>
                                    </p:animEffect>
                                  </p:childTnLst>
                                </p:cTn>
                              </p:par>
                            </p:childTnLst>
                          </p:cTn>
                        </p:par>
                        <p:par>
                          <p:cTn id="75" fill="hold">
                            <p:stCondLst>
                              <p:cond delay="500"/>
                            </p:stCondLst>
                            <p:childTnLst>
                              <p:par>
                                <p:cTn id="76" presetID="22" presetClass="entr" presetSubtype="2" fill="hold" nodeType="afterEffect">
                                  <p:stCondLst>
                                    <p:cond delay="0"/>
                                  </p:stCondLst>
                                  <p:childTnLst>
                                    <p:set>
                                      <p:cBhvr>
                                        <p:cTn id="77" dur="1" fill="hold">
                                          <p:stCondLst>
                                            <p:cond delay="0"/>
                                          </p:stCondLst>
                                        </p:cTn>
                                        <p:tgtEl>
                                          <p:spTgt spid="137"/>
                                        </p:tgtEl>
                                        <p:attrNameLst>
                                          <p:attrName>style.visibility</p:attrName>
                                        </p:attrNameLst>
                                      </p:cBhvr>
                                      <p:to>
                                        <p:strVal val="visible"/>
                                      </p:to>
                                    </p:set>
                                    <p:animEffect transition="in" filter="wipe(right)">
                                      <p:cBhvr>
                                        <p:cTn id="78" dur="500"/>
                                        <p:tgtEl>
                                          <p:spTgt spid="137"/>
                                        </p:tgtEl>
                                      </p:cBhvr>
                                    </p:animEffect>
                                  </p:childTnLst>
                                </p:cTn>
                              </p:par>
                            </p:childTnLst>
                          </p:cTn>
                        </p:par>
                        <p:par>
                          <p:cTn id="79" fill="hold">
                            <p:stCondLst>
                              <p:cond delay="1000"/>
                            </p:stCondLst>
                            <p:childTnLst>
                              <p:par>
                                <p:cTn id="80" presetID="10" presetClass="entr" presetSubtype="0" fill="hold" nodeType="afterEffect">
                                  <p:stCondLst>
                                    <p:cond delay="0"/>
                                  </p:stCondLst>
                                  <p:childTnLst>
                                    <p:set>
                                      <p:cBhvr>
                                        <p:cTn id="81" dur="1" fill="hold">
                                          <p:stCondLst>
                                            <p:cond delay="0"/>
                                          </p:stCondLst>
                                        </p:cTn>
                                        <p:tgtEl>
                                          <p:spTgt spid="168"/>
                                        </p:tgtEl>
                                        <p:attrNameLst>
                                          <p:attrName>style.visibility</p:attrName>
                                        </p:attrNameLst>
                                      </p:cBhvr>
                                      <p:to>
                                        <p:strVal val="visible"/>
                                      </p:to>
                                    </p:set>
                                    <p:animEffect transition="in" filter="fade">
                                      <p:cBhvr>
                                        <p:cTn id="82" dur="500"/>
                                        <p:tgtEl>
                                          <p:spTgt spid="168"/>
                                        </p:tgtEl>
                                      </p:cBhvr>
                                    </p:animEffect>
                                  </p:childTnLst>
                                </p:cTn>
                              </p:par>
                            </p:childTnLst>
                          </p:cTn>
                        </p:par>
                        <p:par>
                          <p:cTn id="83" fill="hold">
                            <p:stCondLst>
                              <p:cond delay="1500"/>
                            </p:stCondLst>
                            <p:childTnLst>
                              <p:par>
                                <p:cTn id="84" presetID="22" presetClass="entr" presetSubtype="8" fill="hold" nodeType="afterEffect">
                                  <p:stCondLst>
                                    <p:cond delay="0"/>
                                  </p:stCondLst>
                                  <p:childTnLst>
                                    <p:set>
                                      <p:cBhvr>
                                        <p:cTn id="85" dur="1" fill="hold">
                                          <p:stCondLst>
                                            <p:cond delay="0"/>
                                          </p:stCondLst>
                                        </p:cTn>
                                        <p:tgtEl>
                                          <p:spTgt spid="124"/>
                                        </p:tgtEl>
                                        <p:attrNameLst>
                                          <p:attrName>style.visibility</p:attrName>
                                        </p:attrNameLst>
                                      </p:cBhvr>
                                      <p:to>
                                        <p:strVal val="visible"/>
                                      </p:to>
                                    </p:set>
                                    <p:animEffect transition="in" filter="wipe(left)">
                                      <p:cBhvr>
                                        <p:cTn id="86"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animBg="1"/>
      <p:bldP spid="12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000" b="-2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33511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gnite 2017 Roadmap</a:t>
            </a:r>
          </a:p>
        </p:txBody>
      </p:sp>
      <p:cxnSp>
        <p:nvCxnSpPr>
          <p:cNvPr id="12" name="Straight Arrow Connector 11"/>
          <p:cNvCxnSpPr/>
          <p:nvPr/>
        </p:nvCxnSpPr>
        <p:spPr>
          <a:xfrm>
            <a:off x="715659" y="4148289"/>
            <a:ext cx="10998949" cy="7203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079376" y="4076253"/>
            <a:ext cx="0" cy="210558"/>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506198" y="4223539"/>
            <a:ext cx="1296601" cy="362072"/>
          </a:xfrm>
          <a:prstGeom prst="rect">
            <a:avLst/>
          </a:prstGeom>
          <a:noFill/>
        </p:spPr>
        <p:txBody>
          <a:bodyPr wrap="square" rtlCol="0">
            <a:spAutoFit/>
          </a:bodyPr>
          <a:lstStyle/>
          <a:p>
            <a:pPr defTabSz="914225"/>
            <a:r>
              <a:rPr lang="en-US" sz="1765">
                <a:solidFill>
                  <a:prstClr val="black"/>
                </a:solidFill>
                <a:latin typeface="Segoe UI Semilight"/>
              </a:rPr>
              <a:t>2017</a:t>
            </a:r>
          </a:p>
        </p:txBody>
      </p:sp>
      <p:sp>
        <p:nvSpPr>
          <p:cNvPr id="27" name="TextBox 26"/>
          <p:cNvSpPr txBox="1"/>
          <p:nvPr/>
        </p:nvSpPr>
        <p:spPr>
          <a:xfrm>
            <a:off x="7896199" y="4223539"/>
            <a:ext cx="1124830" cy="362072"/>
          </a:xfrm>
          <a:prstGeom prst="rect">
            <a:avLst/>
          </a:prstGeom>
          <a:noFill/>
        </p:spPr>
        <p:txBody>
          <a:bodyPr wrap="square" rtlCol="0">
            <a:spAutoFit/>
          </a:bodyPr>
          <a:lstStyle/>
          <a:p>
            <a:pPr defTabSz="914225"/>
            <a:r>
              <a:rPr lang="en-US" sz="1765">
                <a:solidFill>
                  <a:prstClr val="black"/>
                </a:solidFill>
                <a:latin typeface="Segoe UI Semilight"/>
              </a:rPr>
              <a:t>2018</a:t>
            </a:r>
          </a:p>
        </p:txBody>
      </p:sp>
      <p:cxnSp>
        <p:nvCxnSpPr>
          <p:cNvPr id="23" name="Straight Connector 22"/>
          <p:cNvCxnSpPr/>
          <p:nvPr/>
        </p:nvCxnSpPr>
        <p:spPr>
          <a:xfrm>
            <a:off x="807095" y="4056857"/>
            <a:ext cx="0" cy="21055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72334" y="4082645"/>
            <a:ext cx="0" cy="21055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1548556" y="4108429"/>
            <a:ext cx="0" cy="21055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peech Bubble: Rectangle 16"/>
          <p:cNvSpPr/>
          <p:nvPr/>
        </p:nvSpPr>
        <p:spPr bwMode="auto">
          <a:xfrm>
            <a:off x="5946596" y="2717775"/>
            <a:ext cx="1120531" cy="974115"/>
          </a:xfrm>
          <a:prstGeom prst="wedgeRectCallout">
            <a:avLst>
              <a:gd name="adj1" fmla="val -23818"/>
              <a:gd name="adj2" fmla="val 93687"/>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225"/>
            <a:r>
              <a:rPr lang="en-US" sz="1961">
                <a:solidFill>
                  <a:prstClr val="white"/>
                </a:solidFill>
                <a:latin typeface="Segoe UI Semilight"/>
              </a:rPr>
              <a:t>Public Preview </a:t>
            </a:r>
          </a:p>
        </p:txBody>
      </p:sp>
      <p:sp>
        <p:nvSpPr>
          <p:cNvPr id="19" name="Speech Bubble: Rectangle 18"/>
          <p:cNvSpPr/>
          <p:nvPr/>
        </p:nvSpPr>
        <p:spPr bwMode="auto">
          <a:xfrm>
            <a:off x="7141829" y="2717775"/>
            <a:ext cx="1269935" cy="974115"/>
          </a:xfrm>
          <a:prstGeom prst="wedgeRectCallout">
            <a:avLst>
              <a:gd name="adj1" fmla="val -23818"/>
              <a:gd name="adj2" fmla="val 93687"/>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225"/>
            <a:r>
              <a:rPr lang="en-US" sz="1961">
                <a:solidFill>
                  <a:prstClr val="white"/>
                </a:solidFill>
                <a:latin typeface="Segoe UI Semilight"/>
              </a:rPr>
              <a:t>General Availability</a:t>
            </a:r>
          </a:p>
        </p:txBody>
      </p:sp>
      <p:sp>
        <p:nvSpPr>
          <p:cNvPr id="3" name="TextBox 2"/>
          <p:cNvSpPr txBox="1"/>
          <p:nvPr/>
        </p:nvSpPr>
        <p:spPr>
          <a:xfrm>
            <a:off x="5573085" y="1335786"/>
            <a:ext cx="3137487"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RDS modern infra v1</a:t>
            </a:r>
          </a:p>
        </p:txBody>
      </p:sp>
      <p:sp>
        <p:nvSpPr>
          <p:cNvPr id="22" name="Speech Bubble: Rectangle 21"/>
          <p:cNvSpPr/>
          <p:nvPr/>
        </p:nvSpPr>
        <p:spPr bwMode="auto">
          <a:xfrm>
            <a:off x="10599860" y="2717775"/>
            <a:ext cx="1269935" cy="974115"/>
          </a:xfrm>
          <a:prstGeom prst="wedgeRectCallout">
            <a:avLst>
              <a:gd name="adj1" fmla="val -23818"/>
              <a:gd name="adj2" fmla="val 93687"/>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225"/>
            <a:r>
              <a:rPr lang="en-US" sz="1961" err="1">
                <a:solidFill>
                  <a:prstClr val="white"/>
                </a:solidFill>
                <a:latin typeface="Segoe UI Semilight"/>
              </a:rPr>
              <a:t>RDmi</a:t>
            </a:r>
            <a:r>
              <a:rPr lang="en-US" sz="1961">
                <a:solidFill>
                  <a:prstClr val="white"/>
                </a:solidFill>
                <a:latin typeface="Segoe UI Semilight"/>
              </a:rPr>
              <a:t> v2</a:t>
            </a:r>
          </a:p>
        </p:txBody>
      </p:sp>
      <p:sp>
        <p:nvSpPr>
          <p:cNvPr id="30" name="Left Brace 29"/>
          <p:cNvSpPr/>
          <p:nvPr/>
        </p:nvSpPr>
        <p:spPr>
          <a:xfrm rot="16200000" flipH="1">
            <a:off x="6696730" y="836841"/>
            <a:ext cx="964902" cy="3062783"/>
          </a:xfrm>
          <a:prstGeom prst="leftBrace">
            <a:avLst/>
          </a:prstGeom>
          <a:ln w="38100">
            <a:solidFill>
              <a:schemeClr val="bg2">
                <a:lumMod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endParaRPr lang="en-US">
              <a:solidFill>
                <a:srgbClr val="353535"/>
              </a:solidFill>
              <a:latin typeface="Segoe UI Semilight"/>
            </a:endParaRPr>
          </a:p>
        </p:txBody>
      </p:sp>
    </p:spTree>
    <p:extLst>
      <p:ext uri="{BB962C8B-B14F-4D97-AF65-F5344CB8AC3E}">
        <p14:creationId xmlns:p14="http://schemas.microsoft.com/office/powerpoint/2010/main" val="349640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p:txBody>
          <a:bodyPr/>
          <a:lstStyle/>
          <a:p>
            <a:r>
              <a:rPr lang="en-US" sz="4400" dirty="0"/>
              <a:t>Ignite 2018 Roadmap</a:t>
            </a:r>
          </a:p>
        </p:txBody>
      </p:sp>
      <p:sp>
        <p:nvSpPr>
          <p:cNvPr id="3" name="Text Placeholder 2">
            <a:extLst>
              <a:ext uri="{FF2B5EF4-FFF2-40B4-BE49-F238E27FC236}">
                <a16:creationId xmlns:a16="http://schemas.microsoft.com/office/drawing/2014/main" id="{697947C8-A7F0-4939-8C85-5B3C4150CEC4}"/>
              </a:ext>
            </a:extLst>
          </p:cNvPr>
          <p:cNvSpPr>
            <a:spLocks noGrp="1"/>
          </p:cNvSpPr>
          <p:nvPr>
            <p:ph type="body" sz="quarter" idx="10"/>
          </p:nvPr>
        </p:nvSpPr>
        <p:spPr>
          <a:xfrm>
            <a:off x="269240" y="1189495"/>
            <a:ext cx="11655078" cy="4951997"/>
          </a:xfrm>
        </p:spPr>
        <p:txBody>
          <a:bodyPr/>
          <a:lstStyle/>
          <a:p>
            <a:pPr marL="560241" indent="-560241">
              <a:buFont typeface="Arial" panose="020B0604020202020204" pitchFamily="34" charset="0"/>
              <a:buChar char="•"/>
            </a:pPr>
            <a:r>
              <a:rPr lang="en-US" dirty="0" err="1"/>
              <a:t>RDmi</a:t>
            </a:r>
            <a:r>
              <a:rPr lang="en-US" dirty="0"/>
              <a:t> V2 has evolved into Windows Virtual Desktop</a:t>
            </a:r>
          </a:p>
          <a:p>
            <a:pPr marL="560241" indent="-560241">
              <a:buFont typeface="Arial" panose="020B0604020202020204" pitchFamily="34" charset="0"/>
              <a:buChar char="•"/>
            </a:pPr>
            <a:r>
              <a:rPr lang="en-US" dirty="0"/>
              <a:t>From DIY to PAAS</a:t>
            </a:r>
          </a:p>
          <a:p>
            <a:pPr marL="560241" indent="-560241">
              <a:buFont typeface="Arial" panose="020B0604020202020204" pitchFamily="34" charset="0"/>
              <a:buChar char="•"/>
            </a:pPr>
            <a:r>
              <a:rPr lang="en-US" dirty="0"/>
              <a:t>Backend Support</a:t>
            </a:r>
          </a:p>
          <a:p>
            <a:pPr marL="784338" lvl="1" indent="-560241">
              <a:buFont typeface="Arial" panose="020B0604020202020204" pitchFamily="34" charset="0"/>
              <a:buChar char="•"/>
            </a:pPr>
            <a:r>
              <a:rPr lang="en-US" dirty="0"/>
              <a:t>Windows Server 2012 R2</a:t>
            </a:r>
          </a:p>
          <a:p>
            <a:pPr marL="784338" lvl="1" indent="-560241">
              <a:buFont typeface="Arial" panose="020B0604020202020204" pitchFamily="34" charset="0"/>
              <a:buChar char="•"/>
            </a:pPr>
            <a:r>
              <a:rPr lang="en-US" dirty="0"/>
              <a:t>Windows Server 2016</a:t>
            </a:r>
          </a:p>
          <a:p>
            <a:pPr marL="784338" lvl="1" indent="-560241">
              <a:buFont typeface="Arial" panose="020B0604020202020204" pitchFamily="34" charset="0"/>
              <a:buChar char="•"/>
            </a:pPr>
            <a:r>
              <a:rPr lang="en-US" dirty="0"/>
              <a:t>Windows Server 2019 (now in GA)</a:t>
            </a:r>
          </a:p>
          <a:p>
            <a:pPr marL="784338" lvl="1" indent="-560241">
              <a:buFont typeface="Arial" panose="020B0604020202020204" pitchFamily="34" charset="0"/>
              <a:buChar char="•"/>
            </a:pPr>
            <a:r>
              <a:rPr lang="en-US" dirty="0"/>
              <a:t>Windows 10 Enterprise (more on this in next topic)</a:t>
            </a:r>
          </a:p>
          <a:p>
            <a:pPr marL="784338" lvl="1" indent="-560241">
              <a:buFont typeface="Arial" panose="020B0604020202020204" pitchFamily="34" charset="0"/>
              <a:buChar char="•"/>
            </a:pPr>
            <a:r>
              <a:rPr lang="en-US" dirty="0"/>
              <a:t>Windows 7 Enterprise</a:t>
            </a:r>
            <a:br>
              <a:rPr lang="en-US" dirty="0"/>
            </a:br>
            <a:r>
              <a:rPr lang="en-US" dirty="0"/>
              <a:t>If you host your Windows 7 Enterprise on Azure using WVD, you get free Extended Security Updates</a:t>
            </a:r>
          </a:p>
        </p:txBody>
      </p:sp>
    </p:spTree>
    <p:extLst>
      <p:ext uri="{BB962C8B-B14F-4D97-AF65-F5344CB8AC3E}">
        <p14:creationId xmlns:p14="http://schemas.microsoft.com/office/powerpoint/2010/main" val="26067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1E3B6-6D1B-421B-8F2E-D2AF76E4AF2B}"/>
              </a:ext>
            </a:extLst>
          </p:cNvPr>
          <p:cNvSpPr>
            <a:spLocks noGrp="1"/>
          </p:cNvSpPr>
          <p:nvPr>
            <p:ph type="title"/>
          </p:nvPr>
        </p:nvSpPr>
        <p:spPr/>
        <p:txBody>
          <a:bodyPr/>
          <a:lstStyle/>
          <a:p>
            <a:r>
              <a:rPr lang="en-US" dirty="0"/>
              <a:t>Windows Virtual Desktop timeline  </a:t>
            </a:r>
          </a:p>
        </p:txBody>
      </p:sp>
      <p:cxnSp>
        <p:nvCxnSpPr>
          <p:cNvPr id="8" name="Straight Connector 7">
            <a:extLst>
              <a:ext uri="{FF2B5EF4-FFF2-40B4-BE49-F238E27FC236}">
                <a16:creationId xmlns:a16="http://schemas.microsoft.com/office/drawing/2014/main" id="{6F3A05CB-2B1E-4EE8-939D-450BB399B04E}"/>
              </a:ext>
            </a:extLst>
          </p:cNvPr>
          <p:cNvCxnSpPr/>
          <p:nvPr/>
        </p:nvCxnSpPr>
        <p:spPr>
          <a:xfrm>
            <a:off x="866" y="4029652"/>
            <a:ext cx="12190271" cy="0"/>
          </a:xfrm>
          <a:prstGeom prst="line">
            <a:avLst/>
          </a:prstGeom>
          <a:ln w="25400" cap="rnd">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48D8FF33-7EC9-453E-89AB-2F75AE076C34}"/>
              </a:ext>
            </a:extLst>
          </p:cNvPr>
          <p:cNvSpPr/>
          <p:nvPr/>
        </p:nvSpPr>
        <p:spPr bwMode="auto">
          <a:xfrm>
            <a:off x="427230" y="3815773"/>
            <a:ext cx="11334431" cy="427761"/>
          </a:xfrm>
          <a:prstGeom prst="roundRect">
            <a:avLst>
              <a:gd name="adj" fmla="val 50000"/>
            </a:avLst>
          </a:prstGeom>
          <a:solidFill>
            <a:schemeClr val="bg1"/>
          </a:solid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F1A44A71-72EA-40B7-A487-EE8FBF001F10}"/>
              </a:ext>
            </a:extLst>
          </p:cNvPr>
          <p:cNvGrpSpPr/>
          <p:nvPr/>
        </p:nvGrpSpPr>
        <p:grpSpPr>
          <a:xfrm>
            <a:off x="919830" y="4514044"/>
            <a:ext cx="6990528" cy="150811"/>
            <a:chOff x="1732190" y="4238650"/>
            <a:chExt cx="7131715" cy="153857"/>
          </a:xfrm>
        </p:grpSpPr>
        <p:sp>
          <p:nvSpPr>
            <p:cNvPr id="12" name="TextBox 11">
              <a:extLst>
                <a:ext uri="{FF2B5EF4-FFF2-40B4-BE49-F238E27FC236}">
                  <a16:creationId xmlns:a16="http://schemas.microsoft.com/office/drawing/2014/main" id="{9F7F3C09-8A95-4A19-98A9-9DC3DE69316C}"/>
                </a:ext>
              </a:extLst>
            </p:cNvPr>
            <p:cNvSpPr txBox="1"/>
            <p:nvPr/>
          </p:nvSpPr>
          <p:spPr>
            <a:xfrm>
              <a:off x="1732190"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June</a:t>
              </a:r>
            </a:p>
          </p:txBody>
        </p:sp>
        <p:sp>
          <p:nvSpPr>
            <p:cNvPr id="13" name="TextBox 12">
              <a:extLst>
                <a:ext uri="{FF2B5EF4-FFF2-40B4-BE49-F238E27FC236}">
                  <a16:creationId xmlns:a16="http://schemas.microsoft.com/office/drawing/2014/main" id="{22E92057-182E-4550-9ECD-5C28BA83ADF6}"/>
                </a:ext>
              </a:extLst>
            </p:cNvPr>
            <p:cNvSpPr txBox="1"/>
            <p:nvPr/>
          </p:nvSpPr>
          <p:spPr>
            <a:xfrm>
              <a:off x="2621429"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July</a:t>
              </a:r>
            </a:p>
          </p:txBody>
        </p:sp>
        <p:sp>
          <p:nvSpPr>
            <p:cNvPr id="14" name="TextBox 13">
              <a:extLst>
                <a:ext uri="{FF2B5EF4-FFF2-40B4-BE49-F238E27FC236}">
                  <a16:creationId xmlns:a16="http://schemas.microsoft.com/office/drawing/2014/main" id="{6157BBF2-906A-48B2-B8FA-204FC244E653}"/>
                </a:ext>
              </a:extLst>
            </p:cNvPr>
            <p:cNvSpPr txBox="1"/>
            <p:nvPr/>
          </p:nvSpPr>
          <p:spPr>
            <a:xfrm>
              <a:off x="3510668"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August</a:t>
              </a:r>
            </a:p>
          </p:txBody>
        </p:sp>
        <p:sp>
          <p:nvSpPr>
            <p:cNvPr id="15" name="TextBox 14">
              <a:extLst>
                <a:ext uri="{FF2B5EF4-FFF2-40B4-BE49-F238E27FC236}">
                  <a16:creationId xmlns:a16="http://schemas.microsoft.com/office/drawing/2014/main" id="{1C6DCA13-F952-407C-B42A-2523EC70CFD3}"/>
                </a:ext>
              </a:extLst>
            </p:cNvPr>
            <p:cNvSpPr txBox="1"/>
            <p:nvPr/>
          </p:nvSpPr>
          <p:spPr>
            <a:xfrm>
              <a:off x="4399907"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September</a:t>
              </a:r>
            </a:p>
          </p:txBody>
        </p:sp>
        <p:sp>
          <p:nvSpPr>
            <p:cNvPr id="16" name="TextBox 15">
              <a:extLst>
                <a:ext uri="{FF2B5EF4-FFF2-40B4-BE49-F238E27FC236}">
                  <a16:creationId xmlns:a16="http://schemas.microsoft.com/office/drawing/2014/main" id="{5442D0E9-8CB1-4677-B506-93EF3EEF09A7}"/>
                </a:ext>
              </a:extLst>
            </p:cNvPr>
            <p:cNvSpPr txBox="1"/>
            <p:nvPr/>
          </p:nvSpPr>
          <p:spPr>
            <a:xfrm>
              <a:off x="5289146"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October</a:t>
              </a:r>
            </a:p>
          </p:txBody>
        </p:sp>
        <p:sp>
          <p:nvSpPr>
            <p:cNvPr id="17" name="TextBox 16">
              <a:extLst>
                <a:ext uri="{FF2B5EF4-FFF2-40B4-BE49-F238E27FC236}">
                  <a16:creationId xmlns:a16="http://schemas.microsoft.com/office/drawing/2014/main" id="{12E9215A-3216-4CF8-A10B-E383D53624FC}"/>
                </a:ext>
              </a:extLst>
            </p:cNvPr>
            <p:cNvSpPr txBox="1"/>
            <p:nvPr/>
          </p:nvSpPr>
          <p:spPr>
            <a:xfrm>
              <a:off x="6178385"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November</a:t>
              </a:r>
            </a:p>
          </p:txBody>
        </p:sp>
        <p:sp>
          <p:nvSpPr>
            <p:cNvPr id="18" name="TextBox 17">
              <a:extLst>
                <a:ext uri="{FF2B5EF4-FFF2-40B4-BE49-F238E27FC236}">
                  <a16:creationId xmlns:a16="http://schemas.microsoft.com/office/drawing/2014/main" id="{5CD8E826-D0E3-4EAA-A29F-DF1C83766756}"/>
                </a:ext>
              </a:extLst>
            </p:cNvPr>
            <p:cNvSpPr txBox="1"/>
            <p:nvPr/>
          </p:nvSpPr>
          <p:spPr>
            <a:xfrm>
              <a:off x="7067624"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December</a:t>
              </a:r>
            </a:p>
          </p:txBody>
        </p:sp>
        <p:sp>
          <p:nvSpPr>
            <p:cNvPr id="19" name="TextBox 18">
              <a:extLst>
                <a:ext uri="{FF2B5EF4-FFF2-40B4-BE49-F238E27FC236}">
                  <a16:creationId xmlns:a16="http://schemas.microsoft.com/office/drawing/2014/main" id="{4825E7A5-C15C-4F1D-BFA2-060F801F540C}"/>
                </a:ext>
              </a:extLst>
            </p:cNvPr>
            <p:cNvSpPr txBox="1"/>
            <p:nvPr/>
          </p:nvSpPr>
          <p:spPr>
            <a:xfrm>
              <a:off x="7901379" y="4238650"/>
              <a:ext cx="962526" cy="153857"/>
            </a:xfrm>
            <a:prstGeom prst="rect">
              <a:avLst/>
            </a:prstGeom>
            <a:noFill/>
          </p:spPr>
          <p:txBody>
            <a:bodyPr wrap="square" lIns="0" tIns="0" rIns="0" bIns="0" rtlCol="0">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939393"/>
                  </a:solidFill>
                  <a:effectLst/>
                  <a:uLnTx/>
                  <a:uFillTx/>
                  <a:latin typeface="Segoe UI"/>
                  <a:ea typeface="+mn-ea"/>
                  <a:cs typeface="+mn-cs"/>
                </a:rPr>
                <a:t>2019</a:t>
              </a:r>
            </a:p>
          </p:txBody>
        </p:sp>
      </p:grpSp>
      <p:grpSp>
        <p:nvGrpSpPr>
          <p:cNvPr id="23" name="Group 22">
            <a:extLst>
              <a:ext uri="{FF2B5EF4-FFF2-40B4-BE49-F238E27FC236}">
                <a16:creationId xmlns:a16="http://schemas.microsoft.com/office/drawing/2014/main" id="{6A5395A9-ECD7-4A74-AFBA-1EF855DB4F17}"/>
              </a:ext>
            </a:extLst>
          </p:cNvPr>
          <p:cNvGrpSpPr/>
          <p:nvPr/>
        </p:nvGrpSpPr>
        <p:grpSpPr>
          <a:xfrm>
            <a:off x="3908860" y="2951934"/>
            <a:ext cx="195216" cy="1158302"/>
            <a:chOff x="4781591" y="2418507"/>
            <a:chExt cx="199158" cy="1181696"/>
          </a:xfrm>
        </p:grpSpPr>
        <p:sp>
          <p:nvSpPr>
            <p:cNvPr id="24" name="Oval 23">
              <a:extLst>
                <a:ext uri="{FF2B5EF4-FFF2-40B4-BE49-F238E27FC236}">
                  <a16:creationId xmlns:a16="http://schemas.microsoft.com/office/drawing/2014/main" id="{0039C8F2-779F-4257-957E-E7094C7A4584}"/>
                </a:ext>
              </a:extLst>
            </p:cNvPr>
            <p:cNvSpPr/>
            <p:nvPr/>
          </p:nvSpPr>
          <p:spPr bwMode="auto">
            <a:xfrm>
              <a:off x="4781591" y="3401045"/>
              <a:ext cx="199158" cy="19915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D7CF9711-7A0C-4F2B-A9B2-2E7CCAA0D348}"/>
                </a:ext>
              </a:extLst>
            </p:cNvPr>
            <p:cNvCxnSpPr/>
            <p:nvPr/>
          </p:nvCxnSpPr>
          <p:spPr>
            <a:xfrm flipV="1">
              <a:off x="4881170" y="2418507"/>
              <a:ext cx="0" cy="989260"/>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EA85E06-9378-4043-9F65-48BECA3B1D0F}"/>
              </a:ext>
            </a:extLst>
          </p:cNvPr>
          <p:cNvGrpSpPr/>
          <p:nvPr/>
        </p:nvGrpSpPr>
        <p:grpSpPr>
          <a:xfrm>
            <a:off x="7333846" y="2966187"/>
            <a:ext cx="209555" cy="1137460"/>
            <a:chOff x="11006264" y="2418507"/>
            <a:chExt cx="199158" cy="1188418"/>
          </a:xfrm>
        </p:grpSpPr>
        <p:sp>
          <p:nvSpPr>
            <p:cNvPr id="27" name="Oval 26">
              <a:extLst>
                <a:ext uri="{FF2B5EF4-FFF2-40B4-BE49-F238E27FC236}">
                  <a16:creationId xmlns:a16="http://schemas.microsoft.com/office/drawing/2014/main" id="{584CC3BA-4BEA-4E11-84DC-8A1F93D0DA7B}"/>
                </a:ext>
              </a:extLst>
            </p:cNvPr>
            <p:cNvSpPr/>
            <p:nvPr/>
          </p:nvSpPr>
          <p:spPr bwMode="auto">
            <a:xfrm>
              <a:off x="11006264" y="3407767"/>
              <a:ext cx="199158" cy="19915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77FDA39A-A783-48C2-9C10-20B9E91FCF5A}"/>
                </a:ext>
              </a:extLst>
            </p:cNvPr>
            <p:cNvCxnSpPr/>
            <p:nvPr/>
          </p:nvCxnSpPr>
          <p:spPr>
            <a:xfrm flipV="1">
              <a:off x="11105843" y="2418507"/>
              <a:ext cx="0" cy="989260"/>
            </a:xfrm>
            <a:prstGeom prst="line">
              <a:avLst/>
            </a:prstGeom>
            <a:ln w="127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70C4CEA6-56A2-4799-B4F6-3E5B908B8EA0}"/>
              </a:ext>
            </a:extLst>
          </p:cNvPr>
          <p:cNvSpPr txBox="1"/>
          <p:nvPr/>
        </p:nvSpPr>
        <p:spPr>
          <a:xfrm>
            <a:off x="3908859" y="2146033"/>
            <a:ext cx="2983008" cy="723660"/>
          </a:xfrm>
          <a:prstGeom prst="rect">
            <a:avLst/>
          </a:prstGeom>
          <a:noFill/>
        </p:spPr>
        <p:txBody>
          <a:bodyPr wrap="square" lIns="0" tIns="0" rIns="0" bIns="0" rtlCol="0" anchor="b">
            <a:spAutoFit/>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950" b="0" i="0" u="none" strike="noStrike" kern="1200" cap="none" spc="0" normalizeH="0" baseline="0" noProof="0">
                <a:ln>
                  <a:noFill/>
                </a:ln>
                <a:solidFill>
                  <a:srgbClr val="0078D7"/>
                </a:solidFill>
                <a:effectLst/>
                <a:uLnTx/>
                <a:uFillTx/>
                <a:latin typeface="Segoe UI Semibold"/>
                <a:ea typeface="+mn-ea"/>
                <a:cs typeface="+mn-cs"/>
              </a:rPr>
              <a:t>Today</a:t>
            </a:r>
            <a:br>
              <a:rPr kumimoji="0" lang="en-US" sz="1950" b="0" i="0" u="none" strike="noStrike" kern="1200" cap="none" spc="0" normalizeH="0" baseline="0" noProof="0">
                <a:ln>
                  <a:noFill/>
                </a:ln>
                <a:solidFill>
                  <a:srgbClr val="0078D7"/>
                </a:solidFill>
                <a:effectLst/>
                <a:uLnTx/>
                <a:uFillTx/>
                <a:latin typeface="Segoe UI Semibold"/>
                <a:ea typeface="+mn-ea"/>
                <a:cs typeface="Segoe UI Semibold"/>
              </a:rPr>
            </a:br>
            <a:r>
              <a:rPr kumimoji="0" lang="en-US" sz="1350" b="0" i="0" u="none" strike="noStrike" kern="1200" cap="none" spc="0" normalizeH="0" baseline="0" noProof="0">
                <a:ln>
                  <a:noFill/>
                </a:ln>
                <a:solidFill>
                  <a:srgbClr val="000000"/>
                </a:solidFill>
                <a:effectLst/>
                <a:uLnTx/>
                <a:uFillTx/>
                <a:latin typeface="Segoe UI"/>
                <a:ea typeface="+mn-ea"/>
                <a:cs typeface="+mn-cs"/>
              </a:rPr>
              <a:t>Announcing WVD</a:t>
            </a:r>
          </a:p>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Segoe UI"/>
                <a:ea typeface="+mn-ea"/>
                <a:cs typeface="+mn-cs"/>
              </a:rPr>
              <a:t>Announcing Public Preview late 2018</a:t>
            </a:r>
            <a:endParaRPr kumimoji="0" lang="en-US" sz="1350" b="0" i="0" u="none" strike="noStrike" kern="1200" cap="none" spc="0" normalizeH="0" baseline="0" noProof="0">
              <a:ln>
                <a:noFill/>
              </a:ln>
              <a:solidFill>
                <a:srgbClr val="000000"/>
              </a:solidFill>
              <a:effectLst/>
              <a:uLnTx/>
              <a:uFillTx/>
              <a:latin typeface="Segoe UI"/>
              <a:ea typeface="+mn-ea"/>
              <a:cs typeface="Segoe UI"/>
            </a:endParaRPr>
          </a:p>
        </p:txBody>
      </p:sp>
      <p:sp>
        <p:nvSpPr>
          <p:cNvPr id="31" name="TextBox 30">
            <a:extLst>
              <a:ext uri="{FF2B5EF4-FFF2-40B4-BE49-F238E27FC236}">
                <a16:creationId xmlns:a16="http://schemas.microsoft.com/office/drawing/2014/main" id="{D95FF0C5-3552-4E3E-A081-2DB160FF14C7}"/>
              </a:ext>
            </a:extLst>
          </p:cNvPr>
          <p:cNvSpPr txBox="1"/>
          <p:nvPr/>
        </p:nvSpPr>
        <p:spPr>
          <a:xfrm>
            <a:off x="7330706" y="2315798"/>
            <a:ext cx="3379822" cy="512704"/>
          </a:xfrm>
          <a:prstGeom prst="rect">
            <a:avLst/>
          </a:prstGeom>
          <a:noFill/>
        </p:spPr>
        <p:txBody>
          <a:bodyPr wrap="square" lIns="0" tIns="0" rIns="0" bIns="0" rtlCol="0" anchor="b">
            <a:spAutoFit/>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0078D7"/>
                </a:solidFill>
                <a:effectLst/>
                <a:uLnTx/>
                <a:uFillTx/>
                <a:latin typeface="Segoe UI Semibold"/>
                <a:ea typeface="+mn-ea"/>
                <a:cs typeface="+mn-cs"/>
              </a:rPr>
              <a:t>WVD GA</a:t>
            </a:r>
          </a:p>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Segoe UI"/>
                <a:ea typeface="+mn-ea"/>
                <a:cs typeface="+mn-cs"/>
              </a:rPr>
              <a:t>General Availability: early 2019</a:t>
            </a:r>
            <a:endParaRPr kumimoji="0" lang="en-US" sz="1350" b="0" i="0" u="none" strike="noStrike" kern="1200" cap="none" spc="0" normalizeH="0" baseline="0" noProof="0" dirty="0">
              <a:ln>
                <a:noFill/>
              </a:ln>
              <a:solidFill>
                <a:srgbClr val="000000"/>
              </a:solidFill>
              <a:effectLst/>
              <a:uLnTx/>
              <a:uFillTx/>
              <a:latin typeface="Segoe UI Semibold"/>
              <a:ea typeface="+mn-ea"/>
              <a:cs typeface="+mn-cs"/>
            </a:endParaRPr>
          </a:p>
        </p:txBody>
      </p:sp>
      <p:cxnSp>
        <p:nvCxnSpPr>
          <p:cNvPr id="35" name="Straight Connector 34">
            <a:extLst>
              <a:ext uri="{FF2B5EF4-FFF2-40B4-BE49-F238E27FC236}">
                <a16:creationId xmlns:a16="http://schemas.microsoft.com/office/drawing/2014/main" id="{41FAD5C1-E05F-45A9-9417-9E37F003A53D}"/>
              </a:ext>
            </a:extLst>
          </p:cNvPr>
          <p:cNvCxnSpPr>
            <a:cxnSpLocks/>
          </p:cNvCxnSpPr>
          <p:nvPr/>
        </p:nvCxnSpPr>
        <p:spPr>
          <a:xfrm>
            <a:off x="4006468" y="3600244"/>
            <a:ext cx="3324238" cy="0"/>
          </a:xfrm>
          <a:prstGeom prst="line">
            <a:avLst/>
          </a:prstGeom>
          <a:ln w="12700" cap="rnd">
            <a:solidFill>
              <a:schemeClr val="accent1"/>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81B3B39-7C61-488C-B119-421507FDE20E}"/>
              </a:ext>
            </a:extLst>
          </p:cNvPr>
          <p:cNvCxnSpPr>
            <a:cxnSpLocks/>
          </p:cNvCxnSpPr>
          <p:nvPr/>
        </p:nvCxnSpPr>
        <p:spPr>
          <a:xfrm>
            <a:off x="7758064" y="4583690"/>
            <a:ext cx="3324238" cy="0"/>
          </a:xfrm>
          <a:prstGeom prst="line">
            <a:avLst/>
          </a:prstGeom>
          <a:ln w="12700" cap="rnd">
            <a:solidFill>
              <a:schemeClr val="accent1"/>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54CA569-7905-4ADA-8DD2-EF7CC5A7A937}"/>
              </a:ext>
            </a:extLst>
          </p:cNvPr>
          <p:cNvSpPr txBox="1"/>
          <p:nvPr/>
        </p:nvSpPr>
        <p:spPr>
          <a:xfrm>
            <a:off x="9141786" y="3104031"/>
            <a:ext cx="2854852" cy="512704"/>
          </a:xfrm>
          <a:prstGeom prst="rect">
            <a:avLst/>
          </a:prstGeom>
          <a:noFill/>
        </p:spPr>
        <p:txBody>
          <a:bodyPr wrap="square" lIns="0" tIns="0" rIns="0" bIns="0" rtlCol="0" anchor="b">
            <a:spAutoFit/>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0078D7"/>
                </a:solidFill>
                <a:effectLst/>
                <a:uLnTx/>
                <a:uFillTx/>
                <a:latin typeface="Segoe UI Semibold"/>
                <a:ea typeface="+mn-ea"/>
                <a:cs typeface="+mn-cs"/>
              </a:rPr>
              <a:t>Real date…. </a:t>
            </a:r>
            <a:r>
              <a:rPr kumimoji="0" lang="en-US" sz="1961" b="0" i="0" u="none" strike="noStrike" kern="1200" cap="none" spc="0" normalizeH="0" baseline="0" noProof="0" dirty="0">
                <a:ln>
                  <a:noFill/>
                </a:ln>
                <a:solidFill>
                  <a:srgbClr val="0078D7"/>
                </a:solidFill>
                <a:effectLst/>
                <a:uLnTx/>
                <a:uFillTx/>
                <a:latin typeface="Segoe UI Semibold"/>
                <a:ea typeface="+mn-ea"/>
                <a:cs typeface="+mn-cs"/>
                <a:sym typeface="Wingdings" panose="05000000000000000000" pitchFamily="2" charset="2"/>
              </a:rPr>
              <a:t></a:t>
            </a:r>
            <a:endParaRPr kumimoji="0" lang="en-US" sz="1961" b="0" i="0" u="none" strike="noStrike" kern="1200" cap="none" spc="0" normalizeH="0" baseline="0" noProof="0" dirty="0">
              <a:ln>
                <a:noFill/>
              </a:ln>
              <a:solidFill>
                <a:srgbClr val="0078D7"/>
              </a:solidFill>
              <a:effectLst/>
              <a:uLnTx/>
              <a:uFillTx/>
              <a:latin typeface="Segoe UI Semibold"/>
              <a:ea typeface="+mn-ea"/>
              <a:cs typeface="+mn-cs"/>
            </a:endParaRPr>
          </a:p>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Segoe UI"/>
                <a:ea typeface="+mn-ea"/>
                <a:cs typeface="+mn-cs"/>
              </a:rPr>
              <a:t>General Availability: September 2019</a:t>
            </a:r>
            <a:endParaRPr kumimoji="0" lang="en-US" sz="135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1B820161-4C74-4251-91A4-4D2B9C883A85}"/>
              </a:ext>
            </a:extLst>
          </p:cNvPr>
          <p:cNvSpPr txBox="1"/>
          <p:nvPr/>
        </p:nvSpPr>
        <p:spPr>
          <a:xfrm>
            <a:off x="7992757" y="4676910"/>
            <a:ext cx="2854852" cy="512704"/>
          </a:xfrm>
          <a:prstGeom prst="rect">
            <a:avLst/>
          </a:prstGeom>
          <a:noFill/>
        </p:spPr>
        <p:txBody>
          <a:bodyPr wrap="square" lIns="0" tIns="0" rIns="0" bIns="0" rtlCol="0" anchor="b">
            <a:spAutoFit/>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0078D7"/>
                </a:solidFill>
                <a:effectLst/>
                <a:uLnTx/>
                <a:uFillTx/>
                <a:latin typeface="Segoe UI Semibold"/>
                <a:ea typeface="+mn-ea"/>
                <a:cs typeface="+mn-cs"/>
              </a:rPr>
              <a:t>Real date…. </a:t>
            </a:r>
            <a:r>
              <a:rPr kumimoji="0" lang="en-US" sz="1961" b="0" i="0" u="none" strike="noStrike" kern="1200" cap="none" spc="0" normalizeH="0" baseline="0" noProof="0" dirty="0">
                <a:ln>
                  <a:noFill/>
                </a:ln>
                <a:solidFill>
                  <a:srgbClr val="0078D7"/>
                </a:solidFill>
                <a:effectLst/>
                <a:uLnTx/>
                <a:uFillTx/>
                <a:latin typeface="Segoe UI Semibold"/>
                <a:ea typeface="+mn-ea"/>
                <a:cs typeface="+mn-cs"/>
                <a:sym typeface="Wingdings" panose="05000000000000000000" pitchFamily="2" charset="2"/>
              </a:rPr>
              <a:t></a:t>
            </a:r>
            <a:endParaRPr kumimoji="0" lang="en-US" sz="1961" b="0" i="0" u="none" strike="noStrike" kern="1200" cap="none" spc="0" normalizeH="0" baseline="0" noProof="0" dirty="0">
              <a:ln>
                <a:noFill/>
              </a:ln>
              <a:solidFill>
                <a:srgbClr val="0078D7"/>
              </a:solidFill>
              <a:effectLst/>
              <a:uLnTx/>
              <a:uFillTx/>
              <a:latin typeface="Segoe UI Semibold"/>
              <a:ea typeface="+mn-ea"/>
              <a:cs typeface="+mn-cs"/>
            </a:endParaRPr>
          </a:p>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Segoe UI"/>
                <a:ea typeface="+mn-ea"/>
                <a:cs typeface="+mn-cs"/>
              </a:rPr>
              <a:t>Public Preview: March 2019</a:t>
            </a:r>
            <a:endParaRPr kumimoji="0" lang="en-US" sz="1350" b="0" i="0" u="none" strike="noStrike" kern="1200" cap="none" spc="0" normalizeH="0" baseline="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18215200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3AD60-2BAF-4EF1-99D2-B8ADAEBF30D1}"/>
              </a:ext>
            </a:extLst>
          </p:cNvPr>
          <p:cNvSpPr>
            <a:spLocks noGrp="1"/>
          </p:cNvSpPr>
          <p:nvPr>
            <p:ph type="title"/>
          </p:nvPr>
        </p:nvSpPr>
        <p:spPr/>
        <p:txBody>
          <a:bodyPr/>
          <a:lstStyle/>
          <a:p>
            <a:r>
              <a:rPr lang="en-US" dirty="0"/>
              <a:t>Azure: The Future of Windows Virtualization</a:t>
            </a:r>
          </a:p>
        </p:txBody>
      </p:sp>
      <p:sp>
        <p:nvSpPr>
          <p:cNvPr id="3" name="Text Placeholder 2">
            <a:extLst>
              <a:ext uri="{FF2B5EF4-FFF2-40B4-BE49-F238E27FC236}">
                <a16:creationId xmlns:a16="http://schemas.microsoft.com/office/drawing/2014/main" id="{697947C8-A7F0-4939-8C85-5B3C4150CEC4}"/>
              </a:ext>
            </a:extLst>
          </p:cNvPr>
          <p:cNvSpPr>
            <a:spLocks noGrp="1"/>
          </p:cNvSpPr>
          <p:nvPr>
            <p:ph type="body" sz="quarter" idx="10"/>
          </p:nvPr>
        </p:nvSpPr>
        <p:spPr>
          <a:xfrm>
            <a:off x="269240" y="1189495"/>
            <a:ext cx="11655078" cy="5847456"/>
          </a:xfrm>
        </p:spPr>
        <p:txBody>
          <a:bodyPr/>
          <a:lstStyle/>
          <a:p>
            <a:pPr marL="560241" indent="-560241">
              <a:buFont typeface="Arial" panose="020B0604020202020204" pitchFamily="34" charset="0"/>
              <a:buChar char="•"/>
            </a:pPr>
            <a:r>
              <a:rPr lang="en-US" dirty="0"/>
              <a:t>Secure Identity</a:t>
            </a:r>
          </a:p>
          <a:p>
            <a:pPr marL="784338" lvl="1" indent="-560241">
              <a:buFont typeface="Courier New" panose="02070309020205020404" pitchFamily="49" charset="0"/>
              <a:buChar char="o"/>
            </a:pPr>
            <a:r>
              <a:rPr lang="en-US" dirty="0"/>
              <a:t>Azure AD conditional access (CA), multi-factor authentication (MFA)</a:t>
            </a:r>
          </a:p>
          <a:p>
            <a:pPr marL="784338" lvl="1" indent="-560241">
              <a:buFont typeface="Courier New" panose="02070309020205020404" pitchFamily="49" charset="0"/>
              <a:buChar char="o"/>
            </a:pPr>
            <a:r>
              <a:rPr lang="en-US" dirty="0"/>
              <a:t>Azure Security Center and intelligent security graphs</a:t>
            </a:r>
          </a:p>
          <a:p>
            <a:pPr marL="560241" indent="-560241">
              <a:buFont typeface="Arial" panose="020B0604020202020204" pitchFamily="34" charset="0"/>
              <a:buChar char="•"/>
            </a:pPr>
            <a:r>
              <a:rPr lang="en-US" dirty="0"/>
              <a:t>Elasticity</a:t>
            </a:r>
          </a:p>
          <a:p>
            <a:pPr marL="784338" lvl="1" indent="-560241">
              <a:buFont typeface="Courier New" panose="02070309020205020404" pitchFamily="49" charset="0"/>
              <a:buChar char="o"/>
            </a:pPr>
            <a:r>
              <a:rPr lang="en-US" dirty="0"/>
              <a:t>Reduces costs by enabling scaling in/out and up/down</a:t>
            </a:r>
          </a:p>
          <a:p>
            <a:pPr marL="560241" indent="-560241">
              <a:buFont typeface="Arial" panose="020B0604020202020204" pitchFamily="34" charset="0"/>
              <a:buChar char="•"/>
            </a:pPr>
            <a:r>
              <a:rPr lang="en-US" dirty="0"/>
              <a:t>Abstraction</a:t>
            </a:r>
          </a:p>
          <a:p>
            <a:pPr marL="672290" lvl="1" indent="-448193">
              <a:buFont typeface="Courier New" panose="02070309020205020404" pitchFamily="49" charset="0"/>
              <a:buChar char="o"/>
            </a:pPr>
            <a:r>
              <a:rPr lang="en-US" dirty="0"/>
              <a:t>IaaS: eliminates management of physical computing environment</a:t>
            </a:r>
          </a:p>
          <a:p>
            <a:pPr marL="672290" lvl="1" indent="-448193">
              <a:buFont typeface="Courier New" panose="02070309020205020404" pitchFamily="49" charset="0"/>
              <a:buChar char="o"/>
            </a:pPr>
            <a:r>
              <a:rPr lang="en-US" dirty="0"/>
              <a:t>PaaS: reduces management of virtual computing environment</a:t>
            </a:r>
          </a:p>
          <a:p>
            <a:pPr marL="560241" indent="-560241">
              <a:buFont typeface="Arial" panose="020B0604020202020204" pitchFamily="34" charset="0"/>
              <a:buChar char="•"/>
            </a:pPr>
            <a:r>
              <a:rPr lang="en-US" dirty="0"/>
              <a:t>Global Footprint</a:t>
            </a:r>
          </a:p>
          <a:p>
            <a:pPr marL="784338" lvl="1" indent="-560241">
              <a:buFont typeface="Courier New" panose="02070309020205020404" pitchFamily="49" charset="0"/>
              <a:buChar char="o"/>
            </a:pPr>
            <a:r>
              <a:rPr lang="en-US" dirty="0"/>
              <a:t>Service users anywhere on the planet from nearby datacenters</a:t>
            </a:r>
          </a:p>
          <a:p>
            <a:pPr marL="560241" indent="-560241">
              <a:buFont typeface="Arial" panose="020B0604020202020204" pitchFamily="34" charset="0"/>
              <a:buChar char="•"/>
            </a:pPr>
            <a:endParaRPr lang="en-US" dirty="0"/>
          </a:p>
        </p:txBody>
      </p:sp>
    </p:spTree>
    <p:extLst>
      <p:ext uri="{BB962C8B-B14F-4D97-AF65-F5344CB8AC3E}">
        <p14:creationId xmlns:p14="http://schemas.microsoft.com/office/powerpoint/2010/main" val="416354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hatwevelearned 2_Part2">
            <a:hlinkClick r:id="" action="ppaction://media"/>
            <a:extLst>
              <a:ext uri="{FF2B5EF4-FFF2-40B4-BE49-F238E27FC236}">
                <a16:creationId xmlns:a16="http://schemas.microsoft.com/office/drawing/2014/main" id="{3580C224-650E-44FA-91D9-3258F0D72F9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180968531"/>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38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hatwevelearned 2_Part3">
            <a:hlinkClick r:id="" action="ppaction://media"/>
            <a:extLst>
              <a:ext uri="{FF2B5EF4-FFF2-40B4-BE49-F238E27FC236}">
                <a16:creationId xmlns:a16="http://schemas.microsoft.com/office/drawing/2014/main" id="{B26CEFD5-8DE2-4E2E-AA7B-ABBAE7C512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46371426"/>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573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whatwevelearned 2_Part4">
            <a:hlinkClick r:id="" action="ppaction://media"/>
            <a:extLst>
              <a:ext uri="{FF2B5EF4-FFF2-40B4-BE49-F238E27FC236}">
                <a16:creationId xmlns:a16="http://schemas.microsoft.com/office/drawing/2014/main" id="{6FD4A86C-AF97-4B11-ADAC-BA5317D3442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151" y="11151"/>
            <a:ext cx="12192000" cy="6858000"/>
          </a:xfrm>
          <a:prstGeom prst="rect">
            <a:avLst/>
          </a:prstGeom>
        </p:spPr>
      </p:pic>
    </p:spTree>
    <p:extLst>
      <p:ext uri="{BB962C8B-B14F-4D97-AF65-F5344CB8AC3E}">
        <p14:creationId xmlns:p14="http://schemas.microsoft.com/office/powerpoint/2010/main" val="2561156616"/>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48"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5B595-4536-42D7-A181-345E09DCB50E}"/>
              </a:ext>
            </a:extLst>
          </p:cNvPr>
          <p:cNvSpPr>
            <a:spLocks noGrp="1"/>
          </p:cNvSpPr>
          <p:nvPr>
            <p:ph type="title"/>
          </p:nvPr>
        </p:nvSpPr>
        <p:spPr>
          <a:xfrm>
            <a:off x="429383" y="469284"/>
            <a:ext cx="11333080" cy="742300"/>
          </a:xfrm>
        </p:spPr>
        <p:txBody>
          <a:bodyPr/>
          <a:lstStyle/>
          <a:p>
            <a:r>
              <a:rPr lang="en-US"/>
              <a:t>Windows Virtual Desktop</a:t>
            </a:r>
          </a:p>
        </p:txBody>
      </p:sp>
      <p:sp>
        <p:nvSpPr>
          <p:cNvPr id="3" name="Text Placeholder 2">
            <a:extLst>
              <a:ext uri="{FF2B5EF4-FFF2-40B4-BE49-F238E27FC236}">
                <a16:creationId xmlns:a16="http://schemas.microsoft.com/office/drawing/2014/main" id="{BCCE92DC-87DA-4206-A08B-502AF82CFFCD}"/>
              </a:ext>
            </a:extLst>
          </p:cNvPr>
          <p:cNvSpPr txBox="1">
            <a:spLocks/>
          </p:cNvSpPr>
          <p:nvPr/>
        </p:nvSpPr>
        <p:spPr>
          <a:xfrm>
            <a:off x="429383" y="1211584"/>
            <a:ext cx="5666617" cy="24442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The best virtual desktop experience, delivered on Azure</a:t>
            </a:r>
          </a:p>
        </p:txBody>
      </p:sp>
      <p:cxnSp>
        <p:nvCxnSpPr>
          <p:cNvPr id="36" name="Straight Connector 35">
            <a:extLst>
              <a:ext uri="{FF2B5EF4-FFF2-40B4-BE49-F238E27FC236}">
                <a16:creationId xmlns:a16="http://schemas.microsoft.com/office/drawing/2014/main" id="{45804B1F-8C22-4B39-8ECF-E95C69CBAF4C}"/>
              </a:ext>
            </a:extLst>
          </p:cNvPr>
          <p:cNvCxnSpPr/>
          <p:nvPr/>
        </p:nvCxnSpPr>
        <p:spPr>
          <a:xfrm>
            <a:off x="7236422" y="4391479"/>
            <a:ext cx="2" cy="848633"/>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5BB330-C3C4-48FA-B385-0BB6CFCCC7C6}"/>
              </a:ext>
            </a:extLst>
          </p:cNvPr>
          <p:cNvCxnSpPr/>
          <p:nvPr/>
        </p:nvCxnSpPr>
        <p:spPr>
          <a:xfrm>
            <a:off x="9056936" y="4391479"/>
            <a:ext cx="2" cy="848633"/>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B60CEDC-70BC-4E3A-A691-742C52DD6989}"/>
              </a:ext>
            </a:extLst>
          </p:cNvPr>
          <p:cNvCxnSpPr/>
          <p:nvPr/>
        </p:nvCxnSpPr>
        <p:spPr>
          <a:xfrm>
            <a:off x="10877450" y="4391479"/>
            <a:ext cx="2" cy="848633"/>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2" name="Freeform 6">
            <a:extLst>
              <a:ext uri="{FF2B5EF4-FFF2-40B4-BE49-F238E27FC236}">
                <a16:creationId xmlns:a16="http://schemas.microsoft.com/office/drawing/2014/main" id="{C3BFB596-7234-4FEC-9462-46A3E26EAB9F}"/>
              </a:ext>
            </a:extLst>
          </p:cNvPr>
          <p:cNvSpPr>
            <a:spLocks/>
          </p:cNvSpPr>
          <p:nvPr/>
        </p:nvSpPr>
        <p:spPr bwMode="auto">
          <a:xfrm>
            <a:off x="6096000" y="1289950"/>
            <a:ext cx="5921875" cy="3253464"/>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59" tIns="43930" rIns="87859" bIns="43930" numCol="1" anchor="t" anchorCtr="0" compatLnSpc="1">
            <a:prstTxWarp prst="textNoShape">
              <a:avLst/>
            </a:prstTxWarp>
          </a:bodyPr>
          <a:lstStyle/>
          <a:p>
            <a:pPr marL="0" marR="0" lvl="0" indent="0" algn="l" defTabSz="89617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 name="Group 3">
            <a:extLst>
              <a:ext uri="{FF2B5EF4-FFF2-40B4-BE49-F238E27FC236}">
                <a16:creationId xmlns:a16="http://schemas.microsoft.com/office/drawing/2014/main" id="{9F7146CE-08D2-4414-A8E8-40E84F586D9C}"/>
              </a:ext>
            </a:extLst>
          </p:cNvPr>
          <p:cNvGrpSpPr/>
          <p:nvPr/>
        </p:nvGrpSpPr>
        <p:grpSpPr>
          <a:xfrm>
            <a:off x="8699289" y="2572759"/>
            <a:ext cx="2231385" cy="1550509"/>
            <a:chOff x="8214359" y="1981199"/>
            <a:chExt cx="2522221" cy="1752601"/>
          </a:xfrm>
        </p:grpSpPr>
        <p:pic>
          <p:nvPicPr>
            <p:cNvPr id="17" name="Picture 16">
              <a:extLst>
                <a:ext uri="{FF2B5EF4-FFF2-40B4-BE49-F238E27FC236}">
                  <a16:creationId xmlns:a16="http://schemas.microsoft.com/office/drawing/2014/main" id="{2D298BC7-B6FA-427C-A65E-E6F88D4C865F}"/>
                </a:ext>
              </a:extLst>
            </p:cNvPr>
            <p:cNvPicPr>
              <a:picLocks noChangeAspect="1"/>
            </p:cNvPicPr>
            <p:nvPr/>
          </p:nvPicPr>
          <p:blipFill rotWithShape="1">
            <a:blip r:embed="rId3"/>
            <a:srcRect l="16536" t="15990" r="16166" b="19698"/>
            <a:stretch/>
          </p:blipFill>
          <p:spPr>
            <a:xfrm>
              <a:off x="8214359" y="1981199"/>
              <a:ext cx="2522221" cy="1752601"/>
            </a:xfrm>
            <a:prstGeom prst="roundRect">
              <a:avLst>
                <a:gd name="adj" fmla="val 4928"/>
              </a:avLst>
            </a:prstGeom>
          </p:spPr>
        </p:pic>
        <p:sp>
          <p:nvSpPr>
            <p:cNvPr id="23" name="TextBox 22">
              <a:extLst>
                <a:ext uri="{FF2B5EF4-FFF2-40B4-BE49-F238E27FC236}">
                  <a16:creationId xmlns:a16="http://schemas.microsoft.com/office/drawing/2014/main" id="{C1D5CC04-68DA-4465-B76C-3678728D8410}"/>
                </a:ext>
              </a:extLst>
            </p:cNvPr>
            <p:cNvSpPr txBox="1"/>
            <p:nvPr/>
          </p:nvSpPr>
          <p:spPr>
            <a:xfrm>
              <a:off x="8522095" y="2265864"/>
              <a:ext cx="1892866" cy="6631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Semibold"/>
                  <a:ea typeface="+mn-ea"/>
                  <a:cs typeface="+mn-cs"/>
                </a:rPr>
                <a:t>Windows 10</a:t>
              </a:r>
            </a:p>
          </p:txBody>
        </p:sp>
        <p:sp>
          <p:nvSpPr>
            <p:cNvPr id="24" name="TextBox 23">
              <a:extLst>
                <a:ext uri="{FF2B5EF4-FFF2-40B4-BE49-F238E27FC236}">
                  <a16:creationId xmlns:a16="http://schemas.microsoft.com/office/drawing/2014/main" id="{E47961E3-811F-441A-A172-8417DFEDE3A4}"/>
                </a:ext>
              </a:extLst>
            </p:cNvPr>
            <p:cNvSpPr txBox="1"/>
            <p:nvPr/>
          </p:nvSpPr>
          <p:spPr>
            <a:xfrm>
              <a:off x="8638148" y="2939253"/>
              <a:ext cx="1660760" cy="663115"/>
            </a:xfrm>
            <a:prstGeom prst="rect">
              <a:avLst/>
            </a:prstGeom>
            <a:noFill/>
          </p:spPr>
          <p:txBody>
            <a:bodyPr wrap="none" lIns="182880" tIns="146304" rIns="182880" bIns="146304" rtlCol="0">
              <a:spAutoFit/>
            </a:bodyPr>
            <a:lstStyle>
              <a:defPPr>
                <a:defRPr lang="en-US"/>
              </a:defPPr>
              <a:lvl1pPr algn="ctr">
                <a:lnSpc>
                  <a:spcPct val="90000"/>
                </a:lnSpc>
                <a:spcAft>
                  <a:spcPts val="600"/>
                </a:spcAft>
                <a:defRPr sz="2000" spc="-100">
                  <a:solidFill>
                    <a:schemeClr val="bg1"/>
                  </a:solidFill>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Semibold"/>
                  <a:ea typeface="+mn-ea"/>
                  <a:cs typeface="+mn-cs"/>
                </a:rPr>
                <a:t>Office 365</a:t>
              </a:r>
            </a:p>
          </p:txBody>
        </p:sp>
        <p:sp>
          <p:nvSpPr>
            <p:cNvPr id="25" name="TextBox 24">
              <a:extLst>
                <a:ext uri="{FF2B5EF4-FFF2-40B4-BE49-F238E27FC236}">
                  <a16:creationId xmlns:a16="http://schemas.microsoft.com/office/drawing/2014/main" id="{CD46782A-CDA8-4056-9619-FFAD2BD71A58}"/>
                </a:ext>
              </a:extLst>
            </p:cNvPr>
            <p:cNvSpPr txBox="1"/>
            <p:nvPr/>
          </p:nvSpPr>
          <p:spPr>
            <a:xfrm>
              <a:off x="9142280" y="2548753"/>
              <a:ext cx="652495" cy="727288"/>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150" normalizeH="0" baseline="0" noProof="0">
                  <a:ln>
                    <a:noFill/>
                  </a:ln>
                  <a:solidFill>
                    <a:srgbClr val="FFFFFF"/>
                  </a:solidFill>
                  <a:effectLst/>
                  <a:uLnTx/>
                  <a:uFillTx/>
                  <a:latin typeface="Segoe UI Semibold"/>
                  <a:ea typeface="+mn-ea"/>
                  <a:cs typeface="+mn-cs"/>
                </a:rPr>
                <a:t>+</a:t>
              </a:r>
            </a:p>
          </p:txBody>
        </p:sp>
      </p:grpSp>
      <p:pic>
        <p:nvPicPr>
          <p:cNvPr id="26" name="Picture 25">
            <a:extLst>
              <a:ext uri="{FF2B5EF4-FFF2-40B4-BE49-F238E27FC236}">
                <a16:creationId xmlns:a16="http://schemas.microsoft.com/office/drawing/2014/main" id="{3A96A734-091C-4C50-97B0-7BFCBBAA0A4B}"/>
              </a:ext>
            </a:extLst>
          </p:cNvPr>
          <p:cNvPicPr>
            <a:picLocks noChangeAspect="1"/>
          </p:cNvPicPr>
          <p:nvPr/>
        </p:nvPicPr>
        <p:blipFill>
          <a:blip r:embed="rId4"/>
          <a:stretch>
            <a:fillRect/>
          </a:stretch>
        </p:blipFill>
        <p:spPr>
          <a:xfrm>
            <a:off x="6496388" y="3380462"/>
            <a:ext cx="1940801" cy="250373"/>
          </a:xfrm>
          <a:prstGeom prst="rect">
            <a:avLst/>
          </a:prstGeom>
        </p:spPr>
      </p:pic>
      <p:sp>
        <p:nvSpPr>
          <p:cNvPr id="31" name="Oval 30">
            <a:extLst>
              <a:ext uri="{FF2B5EF4-FFF2-40B4-BE49-F238E27FC236}">
                <a16:creationId xmlns:a16="http://schemas.microsoft.com/office/drawing/2014/main" id="{42F94F88-A648-408A-B49B-1FFF1D5F4504}"/>
              </a:ext>
            </a:extLst>
          </p:cNvPr>
          <p:cNvSpPr/>
          <p:nvPr/>
        </p:nvSpPr>
        <p:spPr bwMode="auto">
          <a:xfrm>
            <a:off x="6768785" y="5240113"/>
            <a:ext cx="935278" cy="93527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59" tIns="43930" rIns="87859" bIns="43930" numCol="1" anchor="t" anchorCtr="0" compatLnSpc="1">
            <a:prstTxWarp prst="textNoShape">
              <a:avLst/>
            </a:prstTxWarp>
          </a:bodyPr>
          <a:lstStyle/>
          <a:p>
            <a:pPr marL="0" marR="0" lvl="0" indent="0" algn="l" defTabSz="89617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2" name="Oval 31">
            <a:extLst>
              <a:ext uri="{FF2B5EF4-FFF2-40B4-BE49-F238E27FC236}">
                <a16:creationId xmlns:a16="http://schemas.microsoft.com/office/drawing/2014/main" id="{6EC4B714-FC3C-4102-B9CD-BEEED4AB8481}"/>
              </a:ext>
            </a:extLst>
          </p:cNvPr>
          <p:cNvSpPr/>
          <p:nvPr/>
        </p:nvSpPr>
        <p:spPr bwMode="auto">
          <a:xfrm>
            <a:off x="8589298" y="5240113"/>
            <a:ext cx="935278" cy="93527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59" tIns="43930" rIns="87859" bIns="43930" numCol="1" anchor="t" anchorCtr="0" compatLnSpc="1">
            <a:prstTxWarp prst="textNoShape">
              <a:avLst/>
            </a:prstTxWarp>
          </a:bodyPr>
          <a:lstStyle/>
          <a:p>
            <a:pPr marL="0" marR="0" lvl="0" indent="0" algn="l" defTabSz="89617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3" name="Oval 32">
            <a:extLst>
              <a:ext uri="{FF2B5EF4-FFF2-40B4-BE49-F238E27FC236}">
                <a16:creationId xmlns:a16="http://schemas.microsoft.com/office/drawing/2014/main" id="{35585909-10EB-4E4C-887A-D4CC678A7998}"/>
              </a:ext>
            </a:extLst>
          </p:cNvPr>
          <p:cNvSpPr/>
          <p:nvPr/>
        </p:nvSpPr>
        <p:spPr bwMode="auto">
          <a:xfrm>
            <a:off x="10409812" y="5240113"/>
            <a:ext cx="935278" cy="93527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7859" tIns="43930" rIns="87859" bIns="43930" numCol="1" anchor="t" anchorCtr="0" compatLnSpc="1">
            <a:prstTxWarp prst="textNoShape">
              <a:avLst/>
            </a:prstTxWarp>
          </a:bodyPr>
          <a:lstStyle/>
          <a:p>
            <a:pPr marL="0" marR="0" lvl="0" indent="0" algn="l" defTabSz="89617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8" name="CellPhone_E8EA" title="Icon of a cellphone">
            <a:extLst>
              <a:ext uri="{FF2B5EF4-FFF2-40B4-BE49-F238E27FC236}">
                <a16:creationId xmlns:a16="http://schemas.microsoft.com/office/drawing/2014/main" id="{914E9EEE-19C4-46E8-AA33-B675BDBD5B8F}"/>
              </a:ext>
            </a:extLst>
          </p:cNvPr>
          <p:cNvSpPr>
            <a:spLocks noChangeAspect="1" noEditPoints="1"/>
          </p:cNvSpPr>
          <p:nvPr/>
        </p:nvSpPr>
        <p:spPr bwMode="auto">
          <a:xfrm>
            <a:off x="7119413" y="5498604"/>
            <a:ext cx="234022" cy="38997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Laptop_E770" title="Icon of a laptop">
            <a:extLst>
              <a:ext uri="{FF2B5EF4-FFF2-40B4-BE49-F238E27FC236}">
                <a16:creationId xmlns:a16="http://schemas.microsoft.com/office/drawing/2014/main" id="{EA495C2F-CEE9-4185-A284-DF22207920C1}"/>
              </a:ext>
            </a:extLst>
          </p:cNvPr>
          <p:cNvSpPr>
            <a:spLocks noChangeAspect="1" noEditPoints="1"/>
          </p:cNvSpPr>
          <p:nvPr/>
        </p:nvSpPr>
        <p:spPr bwMode="auto">
          <a:xfrm>
            <a:off x="10633717" y="5563303"/>
            <a:ext cx="487467" cy="32527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Tablet_E70A" title="Icon of a tablet">
            <a:extLst>
              <a:ext uri="{FF2B5EF4-FFF2-40B4-BE49-F238E27FC236}">
                <a16:creationId xmlns:a16="http://schemas.microsoft.com/office/drawing/2014/main" id="{EF7C26C3-96CA-4DBF-81EE-55C9CE7BBDFE}"/>
              </a:ext>
            </a:extLst>
          </p:cNvPr>
          <p:cNvSpPr>
            <a:spLocks noChangeAspect="1" noEditPoints="1"/>
          </p:cNvSpPr>
          <p:nvPr/>
        </p:nvSpPr>
        <p:spPr bwMode="auto">
          <a:xfrm>
            <a:off x="8837577" y="5585118"/>
            <a:ext cx="438720" cy="322062"/>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Text Placeholder 2">
            <a:extLst>
              <a:ext uri="{FF2B5EF4-FFF2-40B4-BE49-F238E27FC236}">
                <a16:creationId xmlns:a16="http://schemas.microsoft.com/office/drawing/2014/main" id="{AFC8A4E0-E6F0-45B8-BA84-2DAC4F8AB24C}"/>
              </a:ext>
            </a:extLst>
          </p:cNvPr>
          <p:cNvSpPr txBox="1">
            <a:spLocks/>
          </p:cNvSpPr>
          <p:nvPr/>
        </p:nvSpPr>
        <p:spPr>
          <a:xfrm>
            <a:off x="1245591" y="3458552"/>
            <a:ext cx="3299214" cy="362072"/>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Optimized for Office 365 ProPlus</a:t>
            </a:r>
          </a:p>
        </p:txBody>
      </p:sp>
      <p:grpSp>
        <p:nvGrpSpPr>
          <p:cNvPr id="47" name="Group 46">
            <a:extLst>
              <a:ext uri="{FF2B5EF4-FFF2-40B4-BE49-F238E27FC236}">
                <a16:creationId xmlns:a16="http://schemas.microsoft.com/office/drawing/2014/main" id="{7B4B0AF4-6550-4C62-93F9-BB4AD7755C4C}"/>
              </a:ext>
            </a:extLst>
          </p:cNvPr>
          <p:cNvGrpSpPr/>
          <p:nvPr/>
        </p:nvGrpSpPr>
        <p:grpSpPr>
          <a:xfrm>
            <a:off x="490317" y="2405063"/>
            <a:ext cx="4054488" cy="390235"/>
            <a:chOff x="762792" y="3220058"/>
            <a:chExt cx="4135789" cy="398060"/>
          </a:xfrm>
        </p:grpSpPr>
        <p:sp>
          <p:nvSpPr>
            <p:cNvPr id="48" name="create" title="Icon of a pencil with an arrow around it pointing counterclockwise">
              <a:extLst>
                <a:ext uri="{FF2B5EF4-FFF2-40B4-BE49-F238E27FC236}">
                  <a16:creationId xmlns:a16="http://schemas.microsoft.com/office/drawing/2014/main" id="{FB090928-ECBD-401A-8001-74AB131B82E7}"/>
                </a:ext>
              </a:extLst>
            </p:cNvPr>
            <p:cNvSpPr>
              <a:spLocks noChangeAspect="1" noEditPoints="1"/>
            </p:cNvSpPr>
            <p:nvPr/>
          </p:nvSpPr>
          <p:spPr bwMode="auto">
            <a:xfrm>
              <a:off x="762792" y="3220058"/>
              <a:ext cx="406422" cy="398060"/>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9050" cap="rnd">
              <a:solidFill>
                <a:srgbClr val="0078D7"/>
              </a:solidFill>
              <a:prstDash val="solid"/>
              <a:miter lim="800000"/>
              <a:headEnd/>
              <a:tailEnd/>
            </a:ln>
          </p:spPr>
          <p:txBody>
            <a:bodyPr vert="horz" wrap="square" lIns="87832" tIns="43917" rIns="87832" bIns="43917" numCol="1" anchor="t" anchorCtr="0" compatLnSpc="1">
              <a:prstTxWarp prst="textNoShape">
                <a:avLst/>
              </a:prstTxWarp>
            </a:bodyPr>
            <a:lstStyle/>
            <a:p>
              <a:pPr marL="0" marR="0" lvl="0" indent="0" algn="ctr" defTabSz="878210" rtl="0" eaLnBrk="1" fontAlgn="base"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0000"/>
                </a:solidFill>
                <a:effectLst/>
                <a:uLnTx/>
                <a:uFillTx/>
                <a:latin typeface="Segoe UI Semibold"/>
                <a:ea typeface="+mn-ea"/>
                <a:cs typeface="+mn-cs"/>
              </a:endParaRPr>
            </a:p>
          </p:txBody>
        </p:sp>
        <p:sp>
          <p:nvSpPr>
            <p:cNvPr id="49" name="Text Placeholder 2">
              <a:extLst>
                <a:ext uri="{FF2B5EF4-FFF2-40B4-BE49-F238E27FC236}">
                  <a16:creationId xmlns:a16="http://schemas.microsoft.com/office/drawing/2014/main" id="{24071271-DA03-438D-8FEF-0813396F5847}"/>
                </a:ext>
              </a:extLst>
            </p:cNvPr>
            <p:cNvSpPr txBox="1">
              <a:spLocks/>
            </p:cNvSpPr>
            <p:nvPr/>
          </p:nvSpPr>
          <p:spPr>
            <a:xfrm>
              <a:off x="1533210" y="3234422"/>
              <a:ext cx="3365371" cy="369332"/>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The only multi-user Windows 10 experience</a:t>
              </a:r>
            </a:p>
          </p:txBody>
        </p:sp>
      </p:grpSp>
      <p:sp>
        <p:nvSpPr>
          <p:cNvPr id="50" name="Text Placeholder 2">
            <a:extLst>
              <a:ext uri="{FF2B5EF4-FFF2-40B4-BE49-F238E27FC236}">
                <a16:creationId xmlns:a16="http://schemas.microsoft.com/office/drawing/2014/main" id="{94C6BDE6-BCB7-4332-9D78-6FC5BAD1EE22}"/>
              </a:ext>
            </a:extLst>
          </p:cNvPr>
          <p:cNvSpPr txBox="1">
            <a:spLocks/>
          </p:cNvSpPr>
          <p:nvPr/>
        </p:nvSpPr>
        <p:spPr>
          <a:xfrm>
            <a:off x="1245590" y="4391479"/>
            <a:ext cx="3299215" cy="362072"/>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ploy and scale in minutes</a:t>
            </a:r>
          </a:p>
        </p:txBody>
      </p:sp>
      <p:sp>
        <p:nvSpPr>
          <p:cNvPr id="51" name="cloud_2" title="Icon of a cloud made of two arrows pointing towards eachother">
            <a:extLst>
              <a:ext uri="{FF2B5EF4-FFF2-40B4-BE49-F238E27FC236}">
                <a16:creationId xmlns:a16="http://schemas.microsoft.com/office/drawing/2014/main" id="{50354886-30D5-4BAE-ACD1-4F286226C157}"/>
              </a:ext>
            </a:extLst>
          </p:cNvPr>
          <p:cNvSpPr>
            <a:spLocks noChangeAspect="1" noEditPoints="1"/>
          </p:cNvSpPr>
          <p:nvPr/>
        </p:nvSpPr>
        <p:spPr bwMode="auto">
          <a:xfrm>
            <a:off x="434975" y="4391479"/>
            <a:ext cx="544216" cy="314054"/>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9050" cap="sq">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6" name="Graphic 5" descr="Blackboard">
            <a:extLst>
              <a:ext uri="{FF2B5EF4-FFF2-40B4-BE49-F238E27FC236}">
                <a16:creationId xmlns:a16="http://schemas.microsoft.com/office/drawing/2014/main" id="{38DCB926-68D2-4515-9DCA-CDED08C262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3383" y="3304360"/>
            <a:ext cx="652299" cy="652299"/>
          </a:xfrm>
          <a:prstGeom prst="rect">
            <a:avLst/>
          </a:prstGeom>
        </p:spPr>
      </p:pic>
    </p:spTree>
    <p:extLst>
      <p:ext uri="{BB962C8B-B14F-4D97-AF65-F5344CB8AC3E}">
        <p14:creationId xmlns:p14="http://schemas.microsoft.com/office/powerpoint/2010/main" val="11039323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5D342F-E711-49D2-BFBF-F2F8887C99F1}"/>
              </a:ext>
              <a:ext uri="{C183D7F6-B498-43B3-948B-1728B52AA6E4}">
                <adec:decorative xmlns:adec="http://schemas.microsoft.com/office/drawing/2017/decorative" val="1"/>
              </a:ext>
            </a:extLst>
          </p:cNvPr>
          <p:cNvSpPr/>
          <p:nvPr/>
        </p:nvSpPr>
        <p:spPr bwMode="auto">
          <a:xfrm>
            <a:off x="0" y="1379245"/>
            <a:ext cx="12192000" cy="5478755"/>
          </a:xfrm>
          <a:prstGeom prst="rect">
            <a:avLst/>
          </a:prstGeom>
          <a:solidFill>
            <a:schemeClr val="bg2"/>
          </a:solidFill>
          <a:ln>
            <a:noFill/>
            <a:headEnd type="none" w="med" len="med"/>
            <a:tailEnd type="none" w="med" len="med"/>
          </a:ln>
          <a:effectLst>
            <a:outerShdw blurRad="190500" dist="50800" dir="27000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accent1"/>
                </a:solidFill>
              </a:rPr>
              <a:t>Windows Virtual Desktop </a:t>
            </a:r>
            <a:r>
              <a:rPr lang="en-US" dirty="0">
                <a:solidFill>
                  <a:schemeClr val="tx1"/>
                </a:solidFill>
              </a:rPr>
              <a:t>T</a:t>
            </a:r>
            <a:r>
              <a:rPr lang="en-US" dirty="0"/>
              <a:t>echnical Fundamentals </a:t>
            </a:r>
          </a:p>
        </p:txBody>
      </p:sp>
      <p:sp>
        <p:nvSpPr>
          <p:cNvPr id="9" name="TextBox 8">
            <a:extLst>
              <a:ext uri="{FF2B5EF4-FFF2-40B4-BE49-F238E27FC236}">
                <a16:creationId xmlns:a16="http://schemas.microsoft.com/office/drawing/2014/main" id="{B8316BAE-98BB-45B0-91C9-DAC7A82FD94B}"/>
              </a:ext>
            </a:extLst>
          </p:cNvPr>
          <p:cNvSpPr txBox="1"/>
          <p:nvPr/>
        </p:nvSpPr>
        <p:spPr>
          <a:xfrm>
            <a:off x="426424" y="1644892"/>
            <a:ext cx="1271182" cy="221599"/>
          </a:xfrm>
          <a:prstGeom prst="rect">
            <a:avLst/>
          </a:prstGeom>
          <a:noFill/>
        </p:spPr>
        <p:txBody>
          <a:bodyPr wrap="none" lIns="0" tIns="0" rIns="0" bIns="0" rtlCol="0">
            <a:spAutoFit/>
          </a:bodyPr>
          <a:lstStyle/>
          <a:p>
            <a:pPr marL="0" marR="0" lvl="0" indent="0" algn="l" defTabSz="913742"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a:ea typeface="+mn-ea"/>
                <a:cs typeface="Segoe UI Semilight" panose="020B0402040204020203" pitchFamily="34" charset="0"/>
              </a:rPr>
              <a:t>Agenda </a:t>
            </a:r>
            <a:r>
              <a:rPr lang="en-US" sz="1600" kern="0" dirty="0">
                <a:solidFill>
                  <a:srgbClr val="0078D7"/>
                </a:solidFill>
                <a:latin typeface="Segoe UI Semibold"/>
                <a:cs typeface="Segoe UI Semilight" panose="020B0402040204020203" pitchFamily="34" charset="0"/>
              </a:rPr>
              <a:t>d</a:t>
            </a:r>
            <a:r>
              <a:rPr kumimoji="0" lang="en-US" sz="1600" b="0" i="0" u="none" strike="noStrike" kern="0" cap="none" spc="0" normalizeH="0" baseline="0" noProof="0" dirty="0">
                <a:ln>
                  <a:noFill/>
                </a:ln>
                <a:solidFill>
                  <a:srgbClr val="0078D7"/>
                </a:solidFill>
                <a:effectLst/>
                <a:uLnTx/>
                <a:uFillTx/>
                <a:latin typeface="Segoe UI Semibold"/>
                <a:ea typeface="+mn-ea"/>
                <a:cs typeface="Segoe UI Semilight" panose="020B0402040204020203" pitchFamily="34" charset="0"/>
              </a:rPr>
              <a:t>ag 1</a:t>
            </a:r>
          </a:p>
        </p:txBody>
      </p:sp>
      <p:graphicFrame>
        <p:nvGraphicFramePr>
          <p:cNvPr id="10" name="Table 9">
            <a:extLst>
              <a:ext uri="{FF2B5EF4-FFF2-40B4-BE49-F238E27FC236}">
                <a16:creationId xmlns:a16="http://schemas.microsoft.com/office/drawing/2014/main" id="{BBC299A1-301D-4B69-A0F3-64C632FD3244}"/>
              </a:ext>
            </a:extLst>
          </p:cNvPr>
          <p:cNvGraphicFramePr>
            <a:graphicFrameLocks noGrp="1"/>
          </p:cNvGraphicFramePr>
          <p:nvPr>
            <p:extLst>
              <p:ext uri="{D42A27DB-BD31-4B8C-83A1-F6EECF244321}">
                <p14:modId xmlns:p14="http://schemas.microsoft.com/office/powerpoint/2010/main" val="3795123465"/>
              </p:ext>
            </p:extLst>
          </p:nvPr>
        </p:nvGraphicFramePr>
        <p:xfrm>
          <a:off x="426424" y="2242275"/>
          <a:ext cx="11125109" cy="4519650"/>
        </p:xfrm>
        <a:graphic>
          <a:graphicData uri="http://schemas.openxmlformats.org/drawingml/2006/table">
            <a:tbl>
              <a:tblPr firstRow="1" bandRow="1">
                <a:tableStyleId>{F5AB1C69-6EDB-4FF4-983F-18BD219EF322}</a:tableStyleId>
              </a:tblPr>
              <a:tblGrid>
                <a:gridCol w="1294426">
                  <a:extLst>
                    <a:ext uri="{9D8B030D-6E8A-4147-A177-3AD203B41FA5}">
                      <a16:colId xmlns:a16="http://schemas.microsoft.com/office/drawing/2014/main" val="4095939447"/>
                    </a:ext>
                  </a:extLst>
                </a:gridCol>
                <a:gridCol w="3742401">
                  <a:extLst>
                    <a:ext uri="{9D8B030D-6E8A-4147-A177-3AD203B41FA5}">
                      <a16:colId xmlns:a16="http://schemas.microsoft.com/office/drawing/2014/main" val="690451674"/>
                    </a:ext>
                  </a:extLst>
                </a:gridCol>
                <a:gridCol w="6088282">
                  <a:extLst>
                    <a:ext uri="{9D8B030D-6E8A-4147-A177-3AD203B41FA5}">
                      <a16:colId xmlns:a16="http://schemas.microsoft.com/office/drawing/2014/main" val="4217532766"/>
                    </a:ext>
                  </a:extLst>
                </a:gridCol>
              </a:tblGrid>
              <a:tr h="476862">
                <a:tc>
                  <a:txBody>
                    <a:bodyPr/>
                    <a:lstStyle/>
                    <a:p>
                      <a:r>
                        <a:rPr lang="en-US" sz="1400" b="0" dirty="0">
                          <a:solidFill>
                            <a:schemeClr val="accent1"/>
                          </a:solidFill>
                          <a:latin typeface="+mn-lt"/>
                          <a:cs typeface="Segoe UI Semilight" panose="020B0402040204020203" pitchFamily="34" charset="0"/>
                        </a:rPr>
                        <a:t>09:00 - 09:30</a:t>
                      </a:r>
                    </a:p>
                  </a:txBody>
                  <a:tcPr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0" dirty="0" err="1">
                          <a:solidFill>
                            <a:schemeClr val="tx2"/>
                          </a:solidFill>
                          <a:latin typeface="+mj-lt"/>
                          <a:cs typeface="Segoe UI Semilight" panose="020B0402040204020203" pitchFamily="34" charset="0"/>
                        </a:rPr>
                        <a:t>Indledning</a:t>
                      </a:r>
                      <a:endParaRPr lang="en-US" sz="1400" b="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r>
                        <a:rPr lang="en-US" sz="1200" b="0" kern="1200" dirty="0" err="1">
                          <a:solidFill>
                            <a:schemeClr val="dk1"/>
                          </a:solidFill>
                          <a:effectLst/>
                          <a:latin typeface="+mn-lt"/>
                          <a:ea typeface="+mn-ea"/>
                          <a:cs typeface="+mn-cs"/>
                        </a:rPr>
                        <a:t>Introdution</a:t>
                      </a:r>
                      <a:r>
                        <a:rPr lang="en-US" sz="1200" b="0" kern="1200" dirty="0">
                          <a:solidFill>
                            <a:schemeClr val="dk1"/>
                          </a:solidFill>
                          <a:effectLst/>
                          <a:latin typeface="+mn-lt"/>
                          <a:ea typeface="+mn-ea"/>
                          <a:cs typeface="+mn-cs"/>
                        </a:rPr>
                        <a:t> </a:t>
                      </a:r>
                      <a:r>
                        <a:rPr lang="en-US" sz="1200" b="0" kern="1200" dirty="0" err="1">
                          <a:solidFill>
                            <a:schemeClr val="dk1"/>
                          </a:solidFill>
                          <a:effectLst/>
                          <a:latin typeface="+mn-lt"/>
                          <a:ea typeface="+mn-ea"/>
                          <a:cs typeface="+mn-cs"/>
                        </a:rPr>
                        <a:t>til</a:t>
                      </a:r>
                      <a:r>
                        <a:rPr lang="en-US" sz="1200" b="0" kern="1200" dirty="0">
                          <a:solidFill>
                            <a:schemeClr val="dk1"/>
                          </a:solidFill>
                          <a:effectLst/>
                          <a:latin typeface="+mn-lt"/>
                          <a:ea typeface="+mn-ea"/>
                          <a:cs typeface="+mn-cs"/>
                        </a:rPr>
                        <a:t> </a:t>
                      </a:r>
                      <a:r>
                        <a:rPr lang="en-US" sz="1200" b="0" kern="1200" dirty="0" err="1">
                          <a:solidFill>
                            <a:schemeClr val="dk1"/>
                          </a:solidFill>
                          <a:effectLst/>
                          <a:latin typeface="+mn-lt"/>
                          <a:ea typeface="+mn-ea"/>
                          <a:cs typeface="+mn-cs"/>
                        </a:rPr>
                        <a:t>forløb</a:t>
                      </a:r>
                      <a:r>
                        <a:rPr lang="en-US" sz="1200" b="0" kern="1200" dirty="0">
                          <a:solidFill>
                            <a:schemeClr val="dk1"/>
                          </a:solidFill>
                          <a:effectLst/>
                          <a:latin typeface="+mn-lt"/>
                          <a:ea typeface="+mn-ea"/>
                          <a:cs typeface="+mn-cs"/>
                        </a:rPr>
                        <a:t>, </a:t>
                      </a:r>
                      <a:r>
                        <a:rPr lang="en-US" sz="1200" b="0" kern="1200" dirty="0" err="1">
                          <a:solidFill>
                            <a:schemeClr val="dk1"/>
                          </a:solidFill>
                          <a:effectLst/>
                          <a:latin typeface="+mn-lt"/>
                          <a:ea typeface="+mn-ea"/>
                          <a:cs typeface="+mn-cs"/>
                        </a:rPr>
                        <a:t>lokaler</a:t>
                      </a:r>
                      <a:r>
                        <a:rPr lang="en-US" sz="1200" b="0" kern="1200" dirty="0">
                          <a:solidFill>
                            <a:schemeClr val="dk1"/>
                          </a:solidFill>
                          <a:effectLst/>
                          <a:latin typeface="+mn-lt"/>
                          <a:ea typeface="+mn-ea"/>
                          <a:cs typeface="+mn-cs"/>
                        </a:rPr>
                        <a:t>, </a:t>
                      </a:r>
                      <a:r>
                        <a:rPr lang="en-US" sz="1200" b="0" kern="1200" dirty="0" err="1">
                          <a:solidFill>
                            <a:schemeClr val="dk1"/>
                          </a:solidFill>
                          <a:effectLst/>
                          <a:latin typeface="+mn-lt"/>
                          <a:ea typeface="+mn-ea"/>
                          <a:cs typeface="+mn-cs"/>
                        </a:rPr>
                        <a:t>praktisk</a:t>
                      </a:r>
                      <a:r>
                        <a:rPr lang="en-US" sz="1200" b="0" kern="1200" dirty="0">
                          <a:solidFill>
                            <a:schemeClr val="dk1"/>
                          </a:solidFill>
                          <a:effectLst/>
                          <a:latin typeface="+mn-lt"/>
                          <a:ea typeface="+mn-ea"/>
                          <a:cs typeface="+mn-cs"/>
                        </a:rPr>
                        <a:t> information, </a:t>
                      </a:r>
                      <a:r>
                        <a:rPr lang="en-US" sz="1200" b="0" kern="1200" dirty="0" err="1">
                          <a:solidFill>
                            <a:schemeClr val="dk1"/>
                          </a:solidFill>
                          <a:effectLst/>
                          <a:latin typeface="+mn-lt"/>
                          <a:ea typeface="+mn-ea"/>
                          <a:cs typeface="+mn-cs"/>
                        </a:rPr>
                        <a:t>m.m.</a:t>
                      </a:r>
                      <a:r>
                        <a:rPr lang="en-US" sz="1200" b="0" kern="1200" dirty="0">
                          <a:solidFill>
                            <a:schemeClr val="dk1"/>
                          </a:solidFill>
                          <a:effectLst/>
                          <a:latin typeface="+mn-lt"/>
                          <a:ea typeface="+mn-ea"/>
                          <a:cs typeface="+mn-cs"/>
                        </a:rPr>
                        <a:t> </a:t>
                      </a:r>
                    </a:p>
                  </a:txBody>
                  <a:tcPr marL="0"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508021"/>
                  </a:ext>
                </a:extLst>
              </a:tr>
              <a:tr h="418699">
                <a:tc>
                  <a:txBody>
                    <a:bodyPr/>
                    <a:lstStyle/>
                    <a:p>
                      <a:r>
                        <a:rPr lang="en-AU" sz="1400" dirty="0">
                          <a:solidFill>
                            <a:schemeClr val="accent1"/>
                          </a:solidFill>
                          <a:latin typeface="+mn-lt"/>
                          <a:cs typeface="Segoe UI Semilight" panose="020B0402040204020203" pitchFamily="34" charset="0"/>
                        </a:rPr>
                        <a:t>09:30 - 10:00</a:t>
                      </a:r>
                      <a:endParaRPr lang="en-US" sz="1400" dirty="0">
                        <a:solidFill>
                          <a:schemeClr val="accent1"/>
                        </a:solidFill>
                        <a:latin typeface="+mn-lt"/>
                        <a:cs typeface="Segoe UI Semilight" panose="020B0402040204020203" pitchFamily="34" charset="0"/>
                      </a:endParaRP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kern="1200" dirty="0" err="1">
                          <a:solidFill>
                            <a:schemeClr val="dk1"/>
                          </a:solidFill>
                          <a:effectLst/>
                          <a:latin typeface="+mj-lt"/>
                          <a:ea typeface="+mn-ea"/>
                          <a:cs typeface="+mn-cs"/>
                        </a:rPr>
                        <a:t>Introduktion</a:t>
                      </a:r>
                      <a:r>
                        <a:rPr lang="en-AU" sz="1400" kern="1200" dirty="0">
                          <a:solidFill>
                            <a:schemeClr val="dk1"/>
                          </a:solidFill>
                          <a:effectLst/>
                          <a:latin typeface="+mj-lt"/>
                          <a:ea typeface="+mn-ea"/>
                          <a:cs typeface="+mn-cs"/>
                        </a:rPr>
                        <a:t> </a:t>
                      </a:r>
                      <a:r>
                        <a:rPr lang="en-AU" sz="1400" kern="1200" dirty="0" err="1">
                          <a:solidFill>
                            <a:schemeClr val="dk1"/>
                          </a:solidFill>
                          <a:effectLst/>
                          <a:latin typeface="+mj-lt"/>
                          <a:ea typeface="+mn-ea"/>
                          <a:cs typeface="+mn-cs"/>
                        </a:rPr>
                        <a:t>til</a:t>
                      </a:r>
                      <a:r>
                        <a:rPr lang="en-AU" sz="1400" kern="1200" dirty="0">
                          <a:solidFill>
                            <a:schemeClr val="dk1"/>
                          </a:solidFill>
                          <a:effectLst/>
                          <a:latin typeface="+mj-lt"/>
                          <a:ea typeface="+mn-ea"/>
                          <a:cs typeface="+mn-cs"/>
                        </a:rPr>
                        <a:t> Windows Virtual Desktop</a:t>
                      </a:r>
                      <a:endParaRPr lang="en-US" sz="1400" kern="1200" dirty="0">
                        <a:solidFill>
                          <a:schemeClr val="dk1"/>
                        </a:solidFill>
                        <a:effectLst/>
                        <a:latin typeface="+mj-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Gennemgang af WVD-teknologien.</a:t>
                      </a:r>
                    </a:p>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Prissætning og licenskrav.</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5651758"/>
                  </a:ext>
                </a:extLst>
              </a:tr>
              <a:tr h="347936">
                <a:tc>
                  <a:txBody>
                    <a:bodyPr/>
                    <a:lstStyle/>
                    <a:p>
                      <a:r>
                        <a:rPr lang="en-US" sz="1400" dirty="0">
                          <a:solidFill>
                            <a:schemeClr val="accent1"/>
                          </a:solidFill>
                          <a:latin typeface="+mn-lt"/>
                          <a:cs typeface="Segoe UI Semilight" panose="020B0402040204020203" pitchFamily="34" charset="0"/>
                        </a:rPr>
                        <a:t>10:00 - 10:3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Gennemgang af Microsoft Azure – Del 1:</a:t>
                      </a:r>
                    </a:p>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Azure Virtual Network, Network Security Groups, Virtual Network gateway (VPN)</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497608"/>
                  </a:ext>
                </a:extLst>
              </a:tr>
              <a:tr h="347936">
                <a:tc>
                  <a:txBody>
                    <a:bodyPr/>
                    <a:lstStyle/>
                    <a:p>
                      <a:r>
                        <a:rPr lang="en-US" sz="1400" dirty="0">
                          <a:solidFill>
                            <a:schemeClr val="accent1"/>
                          </a:solidFill>
                          <a:latin typeface="+mn-lt"/>
                          <a:cs typeface="Segoe UI Semilight" panose="020B0402040204020203" pitchFamily="34" charset="0"/>
                        </a:rPr>
                        <a:t>10:30 - 10: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solidFill>
                            <a:schemeClr val="tx2"/>
                          </a:solidFill>
                          <a:latin typeface="+mj-lt"/>
                          <a:cs typeface="Segoe UI Semilight" panose="020B0402040204020203" pitchFamily="34" charset="0"/>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mn-lt"/>
                          <a:ea typeface="+mn-ea"/>
                          <a:cs typeface="+mn-cs"/>
                        </a:rPr>
                        <a:t>Pause</a:t>
                      </a:r>
                      <a:endParaRPr lang="en-US" sz="1200" dirty="0">
                        <a:solidFill>
                          <a:schemeClr val="tx2"/>
                        </a:solidFill>
                        <a:latin typeface="+mn-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9131849"/>
                  </a:ext>
                </a:extLst>
              </a:tr>
              <a:tr h="382157">
                <a:tc>
                  <a:txBody>
                    <a:bodyPr/>
                    <a:lstStyle/>
                    <a:p>
                      <a:r>
                        <a:rPr lang="en-US" sz="1400" dirty="0">
                          <a:solidFill>
                            <a:schemeClr val="accent1"/>
                          </a:solidFill>
                          <a:latin typeface="+mn-lt"/>
                          <a:cs typeface="Segoe UI Semilight" panose="020B0402040204020203" pitchFamily="34" charset="0"/>
                        </a:rPr>
                        <a:t>10:45 - 11:1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Gennemgang af Microsoft Azure – Del 2:</a:t>
                      </a:r>
                    </a:p>
                    <a:p>
                      <a:pPr marL="0" marR="0">
                        <a:spcBef>
                          <a:spcPts val="0"/>
                        </a:spcBef>
                        <a:spcAft>
                          <a:spcPts val="0"/>
                        </a:spcAft>
                      </a:pPr>
                      <a:r>
                        <a:rPr lang="da-DK" sz="1200" kern="1200" dirty="0">
                          <a:solidFill>
                            <a:schemeClr val="tx2"/>
                          </a:solidFill>
                          <a:latin typeface="+mn-lt"/>
                          <a:ea typeface="+mn-ea"/>
                          <a:cs typeface="Segoe UI Semilight" panose="020B0402040204020203" pitchFamily="34" charset="0"/>
                        </a:rPr>
                        <a:t>Valg af virtuelle maskiner (</a:t>
                      </a:r>
                      <a:r>
                        <a:rPr lang="da-DK" sz="1200" kern="1200" dirty="0" err="1">
                          <a:solidFill>
                            <a:schemeClr val="tx2"/>
                          </a:solidFill>
                          <a:latin typeface="+mn-lt"/>
                          <a:ea typeface="+mn-ea"/>
                          <a:cs typeface="Segoe UI Semilight" panose="020B0402040204020203" pitchFamily="34" charset="0"/>
                        </a:rPr>
                        <a:t>Seizing</a:t>
                      </a:r>
                      <a:r>
                        <a:rPr lang="da-DK" sz="1200" kern="1200" dirty="0">
                          <a:solidFill>
                            <a:schemeClr val="tx2"/>
                          </a:solidFill>
                          <a:latin typeface="+mn-lt"/>
                          <a:ea typeface="+mn-ea"/>
                          <a:cs typeface="Segoe UI Semilight" panose="020B0402040204020203" pitchFamily="34" charset="0"/>
                        </a:rPr>
                        <a:t>), DNS, Domain </a:t>
                      </a:r>
                      <a:r>
                        <a:rPr lang="da-DK" sz="1200" kern="1200" dirty="0" err="1">
                          <a:solidFill>
                            <a:schemeClr val="tx2"/>
                          </a:solidFill>
                          <a:latin typeface="+mn-lt"/>
                          <a:ea typeface="+mn-ea"/>
                          <a:cs typeface="Segoe UI Semilight" panose="020B0402040204020203" pitchFamily="34" charset="0"/>
                        </a:rPr>
                        <a:t>join</a:t>
                      </a:r>
                      <a:r>
                        <a:rPr lang="da-DK" sz="1200" kern="1200" dirty="0">
                          <a:solidFill>
                            <a:schemeClr val="tx2"/>
                          </a:solidFill>
                          <a:latin typeface="+mn-lt"/>
                          <a:ea typeface="+mn-ea"/>
                          <a:cs typeface="Segoe UI Semilight" panose="020B0402040204020203" pitchFamily="34" charset="0"/>
                        </a:rPr>
                        <a:t>, m.m.</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9371759"/>
                  </a:ext>
                </a:extLst>
              </a:tr>
              <a:tr h="409074">
                <a:tc>
                  <a:txBody>
                    <a:bodyPr/>
                    <a:lstStyle/>
                    <a:p>
                      <a:r>
                        <a:rPr lang="en-US" sz="1400" dirty="0">
                          <a:solidFill>
                            <a:schemeClr val="accent1"/>
                          </a:solidFill>
                          <a:latin typeface="+mn-lt"/>
                          <a:cs typeface="Segoe UI Semilight" panose="020B0402040204020203" pitchFamily="34" charset="0"/>
                        </a:rPr>
                        <a:t>11:10 - 11: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mn-lt"/>
                          <a:ea typeface="+mn-ea"/>
                          <a:cs typeface="+mn-cs"/>
                        </a:rPr>
                        <a:t>Azure Conditional Access – </a:t>
                      </a:r>
                      <a:r>
                        <a:rPr lang="en-US" sz="1200" kern="1200" dirty="0" err="1">
                          <a:solidFill>
                            <a:schemeClr val="dk1"/>
                          </a:solidFill>
                          <a:effectLst/>
                          <a:latin typeface="+mn-lt"/>
                          <a:ea typeface="+mn-ea"/>
                          <a:cs typeface="+mn-cs"/>
                        </a:rPr>
                        <a:t>Sikkerheden</a:t>
                      </a:r>
                      <a:r>
                        <a:rPr lang="en-US" sz="1200" kern="1200" dirty="0">
                          <a:solidFill>
                            <a:schemeClr val="dk1"/>
                          </a:solidFill>
                          <a:effectLst/>
                          <a:latin typeface="+mn-lt"/>
                          <a:ea typeface="+mn-ea"/>
                          <a:cs typeface="+mn-cs"/>
                        </a:rPr>
                        <a:t> </a:t>
                      </a:r>
                      <a:r>
                        <a:rPr lang="en-US" sz="1200" kern="1200" dirty="0" err="1">
                          <a:solidFill>
                            <a:schemeClr val="dk1"/>
                          </a:solidFill>
                          <a:effectLst/>
                          <a:latin typeface="+mn-lt"/>
                          <a:ea typeface="+mn-ea"/>
                          <a:cs typeface="+mn-cs"/>
                        </a:rPr>
                        <a:t>omkring</a:t>
                      </a:r>
                      <a:r>
                        <a:rPr lang="en-US" sz="1200" kern="1200" dirty="0">
                          <a:solidFill>
                            <a:schemeClr val="dk1"/>
                          </a:solidFill>
                          <a:effectLst/>
                          <a:latin typeface="+mn-lt"/>
                          <a:ea typeface="+mn-ea"/>
                          <a:cs typeface="+mn-cs"/>
                        </a:rPr>
                        <a:t> WVD</a:t>
                      </a:r>
                      <a:endParaRPr lang="en-US" sz="1200" dirty="0">
                        <a:solidFill>
                          <a:schemeClr val="tx2"/>
                        </a:solidFill>
                        <a:latin typeface="+mn-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12564"/>
                  </a:ext>
                </a:extLst>
              </a:tr>
              <a:tr h="192506">
                <a:tc>
                  <a:txBody>
                    <a:bodyPr/>
                    <a:lstStyle/>
                    <a:p>
                      <a:r>
                        <a:rPr lang="en-AU" sz="1400" dirty="0">
                          <a:solidFill>
                            <a:schemeClr val="accent1"/>
                          </a:solidFill>
                          <a:latin typeface="+mn-lt"/>
                          <a:cs typeface="Segoe UI Semilight" panose="020B0402040204020203" pitchFamily="34" charset="0"/>
                        </a:rPr>
                        <a:t>11:45 - 12:30</a:t>
                      </a:r>
                      <a:endParaRPr lang="en-US" sz="1400" dirty="0">
                        <a:solidFill>
                          <a:schemeClr val="accent1"/>
                        </a:solidFill>
                        <a:latin typeface="+mn-lt"/>
                        <a:cs typeface="Segoe UI Semilight" panose="020B0402040204020203" pitchFamily="34" charset="0"/>
                      </a:endParaRP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da-DK" sz="1400" dirty="0">
                          <a:solidFill>
                            <a:schemeClr val="tx2"/>
                          </a:solidFill>
                          <a:latin typeface="+mj-lt"/>
                          <a:cs typeface="Segoe UI Semilight" panose="020B0402040204020203" pitchFamily="34" charset="0"/>
                        </a:rPr>
                        <a:t>Frokost pause</a:t>
                      </a:r>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err="1">
                          <a:solidFill>
                            <a:schemeClr val="dk1"/>
                          </a:solidFill>
                          <a:effectLst/>
                          <a:latin typeface="+mn-lt"/>
                          <a:ea typeface="+mn-ea"/>
                          <a:cs typeface="+mn-cs"/>
                        </a:rPr>
                        <a:t>Frokost</a:t>
                      </a:r>
                      <a:r>
                        <a:rPr lang="en-US" sz="1200" kern="1200" dirty="0">
                          <a:solidFill>
                            <a:schemeClr val="dk1"/>
                          </a:solidFill>
                          <a:effectLst/>
                          <a:latin typeface="+mn-lt"/>
                          <a:ea typeface="+mn-ea"/>
                          <a:cs typeface="+mn-cs"/>
                        </a:rPr>
                        <a:t> 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410220"/>
                  </a:ext>
                </a:extLst>
              </a:tr>
              <a:tr h="442762">
                <a:tc>
                  <a:txBody>
                    <a:bodyPr/>
                    <a:lstStyle/>
                    <a:p>
                      <a:r>
                        <a:rPr lang="en-US" sz="1400" dirty="0">
                          <a:solidFill>
                            <a:schemeClr val="accent1"/>
                          </a:solidFill>
                          <a:latin typeface="+mn-lt"/>
                          <a:cs typeface="Segoe UI Semilight" panose="020B0402040204020203" pitchFamily="34" charset="0"/>
                        </a:rPr>
                        <a:t>12:30 - 14: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kern="1200" dirty="0">
                          <a:solidFill>
                            <a:schemeClr val="dk1"/>
                          </a:solidFill>
                          <a:effectLst/>
                          <a:latin typeface="+mj-lt"/>
                          <a:ea typeface="+mn-ea"/>
                          <a:cs typeface="+mn-cs"/>
                        </a:rPr>
                        <a:t>Deployment </a:t>
                      </a:r>
                      <a:r>
                        <a:rPr lang="en-AU" sz="1400" kern="1200" dirty="0" err="1">
                          <a:solidFill>
                            <a:schemeClr val="dk1"/>
                          </a:solidFill>
                          <a:effectLst/>
                          <a:latin typeface="+mj-lt"/>
                          <a:ea typeface="+mn-ea"/>
                          <a:cs typeface="+mn-cs"/>
                        </a:rPr>
                        <a:t>af</a:t>
                      </a:r>
                      <a:r>
                        <a:rPr lang="en-AU" sz="1400" kern="1200" dirty="0">
                          <a:solidFill>
                            <a:schemeClr val="dk1"/>
                          </a:solidFill>
                          <a:effectLst/>
                          <a:latin typeface="+mj-lt"/>
                          <a:ea typeface="+mn-ea"/>
                          <a:cs typeface="+mn-cs"/>
                        </a:rPr>
                        <a:t> Windows Virtual Desktop</a:t>
                      </a:r>
                      <a:endParaRPr lang="en-US" sz="1400" kern="1200" dirty="0">
                        <a:solidFill>
                          <a:schemeClr val="dk1"/>
                        </a:solidFill>
                        <a:effectLst/>
                        <a:latin typeface="+mj-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200" kern="1200" dirty="0" err="1">
                          <a:solidFill>
                            <a:schemeClr val="dk1"/>
                          </a:solidFill>
                          <a:effectLst/>
                          <a:latin typeface="+mn-lt"/>
                          <a:ea typeface="+mn-ea"/>
                          <a:cs typeface="+mn-cs"/>
                        </a:rPr>
                        <a:t>Oprettelse</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af</a:t>
                      </a:r>
                      <a:r>
                        <a:rPr lang="en-AU" sz="1200" kern="1200" dirty="0">
                          <a:solidFill>
                            <a:schemeClr val="dk1"/>
                          </a:solidFill>
                          <a:effectLst/>
                          <a:latin typeface="+mn-lt"/>
                          <a:ea typeface="+mn-ea"/>
                          <a:cs typeface="+mn-cs"/>
                        </a:rPr>
                        <a:t> ”Golden Image” </a:t>
                      </a:r>
                      <a:r>
                        <a:rPr lang="en-AU" sz="1200" kern="1200" dirty="0" err="1">
                          <a:solidFill>
                            <a:schemeClr val="dk1"/>
                          </a:solidFill>
                          <a:effectLst/>
                          <a:latin typeface="+mn-lt"/>
                          <a:ea typeface="+mn-ea"/>
                          <a:cs typeface="+mn-cs"/>
                        </a:rPr>
                        <a:t>og</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udrulning</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af</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første</a:t>
                      </a:r>
                      <a:r>
                        <a:rPr lang="en-AU" sz="1200" kern="1200" dirty="0">
                          <a:solidFill>
                            <a:schemeClr val="dk1"/>
                          </a:solidFill>
                          <a:effectLst/>
                          <a:latin typeface="+mn-lt"/>
                          <a:ea typeface="+mn-ea"/>
                          <a:cs typeface="+mn-cs"/>
                        </a:rPr>
                        <a:t> Windows Virtual Desktop </a:t>
                      </a:r>
                      <a:r>
                        <a:rPr lang="en-AU" sz="1200" kern="1200" dirty="0" err="1">
                          <a:solidFill>
                            <a:schemeClr val="dk1"/>
                          </a:solidFill>
                          <a:effectLst/>
                          <a:latin typeface="+mn-lt"/>
                          <a:ea typeface="+mn-ea"/>
                          <a:cs typeface="+mn-cs"/>
                        </a:rPr>
                        <a:t>miljø</a:t>
                      </a:r>
                      <a:r>
                        <a:rPr lang="en-AU" sz="1200" kern="1200" dirty="0">
                          <a:solidFill>
                            <a:schemeClr val="dk1"/>
                          </a:solidFill>
                          <a:effectLst/>
                          <a:latin typeface="+mn-lt"/>
                          <a:ea typeface="+mn-ea"/>
                          <a:cs typeface="+mn-cs"/>
                        </a:rPr>
                        <a:t>.</a:t>
                      </a:r>
                    </a:p>
                    <a:p>
                      <a:r>
                        <a:rPr lang="en-AU" sz="1200" kern="1200" dirty="0" err="1">
                          <a:solidFill>
                            <a:schemeClr val="dk1"/>
                          </a:solidFill>
                          <a:effectLst/>
                          <a:latin typeface="+mn-lt"/>
                          <a:ea typeface="+mn-ea"/>
                          <a:cs typeface="+mn-cs"/>
                        </a:rPr>
                        <a:t>Gennemgang</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af</a:t>
                      </a:r>
                      <a:r>
                        <a:rPr lang="en-AU" sz="1200" kern="1200" dirty="0">
                          <a:solidFill>
                            <a:schemeClr val="dk1"/>
                          </a:solidFill>
                          <a:effectLst/>
                          <a:latin typeface="+mn-lt"/>
                          <a:ea typeface="+mn-ea"/>
                          <a:cs typeface="+mn-cs"/>
                        </a:rPr>
                        <a:t> Windows 10 multi-session.</a:t>
                      </a:r>
                    </a:p>
                    <a:p>
                      <a:r>
                        <a:rPr lang="en-AU" sz="1200" kern="1200" dirty="0">
                          <a:solidFill>
                            <a:schemeClr val="dk1"/>
                          </a:solidFill>
                          <a:effectLst/>
                          <a:latin typeface="+mn-lt"/>
                          <a:ea typeface="+mn-ea"/>
                          <a:cs typeface="+mn-cs"/>
                        </a:rPr>
                        <a:t>Pooled / Personal (Session Host, VDI).</a:t>
                      </a:r>
                    </a:p>
                    <a:p>
                      <a:r>
                        <a:rPr lang="en-AU" sz="1200" kern="1200" dirty="0" err="1">
                          <a:solidFill>
                            <a:schemeClr val="dk1"/>
                          </a:solidFill>
                          <a:effectLst/>
                          <a:latin typeface="+mn-lt"/>
                          <a:ea typeface="+mn-ea"/>
                          <a:cs typeface="+mn-cs"/>
                        </a:rPr>
                        <a:t>Gennemgang</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af</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forskellene</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imellem</a:t>
                      </a:r>
                      <a:r>
                        <a:rPr lang="en-AU" sz="1200" kern="1200" dirty="0">
                          <a:solidFill>
                            <a:schemeClr val="dk1"/>
                          </a:solidFill>
                          <a:effectLst/>
                          <a:latin typeface="+mn-lt"/>
                          <a:ea typeface="+mn-ea"/>
                          <a:cs typeface="+mn-cs"/>
                        </a:rPr>
                        <a:t> Persistent / Nonpersistent </a:t>
                      </a:r>
                      <a:r>
                        <a:rPr lang="en-AU" sz="1200" kern="1200" dirty="0" err="1">
                          <a:solidFill>
                            <a:schemeClr val="dk1"/>
                          </a:solidFill>
                          <a:effectLst/>
                          <a:latin typeface="+mn-lt"/>
                          <a:ea typeface="+mn-ea"/>
                          <a:cs typeface="+mn-cs"/>
                        </a:rPr>
                        <a:t>VDI’er</a:t>
                      </a:r>
                      <a:r>
                        <a:rPr lang="en-AU" sz="1200" kern="1200" dirty="0">
                          <a:solidFill>
                            <a:schemeClr val="dk1"/>
                          </a:solidFill>
                          <a:effectLst/>
                          <a:latin typeface="+mn-lt"/>
                          <a:ea typeface="+mn-ea"/>
                          <a:cs typeface="+mn-cs"/>
                        </a:rPr>
                        <a:t>.</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853654"/>
                  </a:ext>
                </a:extLst>
              </a:tr>
              <a:tr h="442762">
                <a:tc>
                  <a:txBody>
                    <a:bodyPr/>
                    <a:lstStyle/>
                    <a:p>
                      <a:r>
                        <a:rPr lang="en-US" sz="1400" dirty="0">
                          <a:solidFill>
                            <a:schemeClr val="accent1"/>
                          </a:solidFill>
                          <a:latin typeface="+mn-lt"/>
                          <a:cs typeface="Segoe UI Semilight" panose="020B0402040204020203" pitchFamily="34" charset="0"/>
                        </a:rPr>
                        <a:t>14:45 - 15:0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dk1"/>
                          </a:solidFill>
                          <a:effectLst/>
                          <a:latin typeface="+mj-lt"/>
                          <a:ea typeface="+mn-ea"/>
                          <a:cs typeface="+mn-cs"/>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effectLst/>
                          <a:latin typeface="+mn-lt"/>
                          <a:ea typeface="+mn-ea"/>
                          <a:cs typeface="+mn-cs"/>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7282739"/>
                  </a:ext>
                </a:extLst>
              </a:tr>
              <a:tr h="442762">
                <a:tc>
                  <a:txBody>
                    <a:bodyPr/>
                    <a:lstStyle/>
                    <a:p>
                      <a:r>
                        <a:rPr lang="en-US" sz="1400" dirty="0">
                          <a:solidFill>
                            <a:schemeClr val="accent1"/>
                          </a:solidFill>
                          <a:latin typeface="+mn-lt"/>
                          <a:cs typeface="Segoe UI Semilight" panose="020B0402040204020203" pitchFamily="34" charset="0"/>
                        </a:rPr>
                        <a:t>15:00 - 16:0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kern="1200" dirty="0">
                        <a:solidFill>
                          <a:schemeClr val="dk1"/>
                        </a:solidFill>
                        <a:effectLst/>
                        <a:latin typeface="+mn-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effectLst/>
                          <a:latin typeface="+mn-lt"/>
                          <a:ea typeface="+mn-ea"/>
                          <a:cs typeface="+mn-cs"/>
                        </a:rPr>
                        <a:t>Installation </a:t>
                      </a:r>
                      <a:r>
                        <a:rPr lang="en-US" sz="1200" kern="1200" dirty="0" err="1">
                          <a:solidFill>
                            <a:schemeClr val="dk1"/>
                          </a:solidFill>
                          <a:effectLst/>
                          <a:latin typeface="+mn-lt"/>
                          <a:ea typeface="+mn-ea"/>
                          <a:cs typeface="+mn-cs"/>
                        </a:rPr>
                        <a:t>af</a:t>
                      </a:r>
                      <a:r>
                        <a:rPr lang="en-US" sz="1200" kern="1200" dirty="0">
                          <a:solidFill>
                            <a:schemeClr val="dk1"/>
                          </a:solidFill>
                          <a:effectLst/>
                          <a:latin typeface="+mn-lt"/>
                          <a:ea typeface="+mn-ea"/>
                          <a:cs typeface="+mn-cs"/>
                        </a:rPr>
                        <a:t> Windows Virtual Desktop I Azure subscription.</a:t>
                      </a:r>
                    </a:p>
                    <a:p>
                      <a:r>
                        <a:rPr lang="en-US" sz="1200" kern="1200" dirty="0">
                          <a:solidFill>
                            <a:schemeClr val="dk1"/>
                          </a:solidFill>
                          <a:effectLst/>
                          <a:latin typeface="+mn-lt"/>
                          <a:ea typeface="+mn-ea"/>
                          <a:cs typeface="+mn-cs"/>
                        </a:rPr>
                        <a:t>Installation </a:t>
                      </a:r>
                      <a:r>
                        <a:rPr lang="en-US" sz="1200" kern="1200" dirty="0" err="1">
                          <a:solidFill>
                            <a:schemeClr val="dk1"/>
                          </a:solidFill>
                          <a:effectLst/>
                          <a:latin typeface="+mn-lt"/>
                          <a:ea typeface="+mn-ea"/>
                          <a:cs typeface="+mn-cs"/>
                        </a:rPr>
                        <a:t>af</a:t>
                      </a:r>
                      <a:r>
                        <a:rPr lang="en-US" sz="1200" kern="1200" dirty="0">
                          <a:solidFill>
                            <a:schemeClr val="dk1"/>
                          </a:solidFill>
                          <a:effectLst/>
                          <a:latin typeface="+mn-lt"/>
                          <a:ea typeface="+mn-ea"/>
                          <a:cs typeface="+mn-cs"/>
                        </a:rPr>
                        <a:t> programmer.</a:t>
                      </a:r>
                    </a:p>
                    <a:p>
                      <a:r>
                        <a:rPr lang="en-US" sz="1200" kern="1200" dirty="0">
                          <a:solidFill>
                            <a:schemeClr val="dk1"/>
                          </a:solidFill>
                          <a:effectLst/>
                          <a:latin typeface="+mn-lt"/>
                          <a:ea typeface="+mn-ea"/>
                          <a:cs typeface="+mn-cs"/>
                        </a:rPr>
                        <a:t>MSI vs. MSIX app attach.</a:t>
                      </a:r>
                    </a:p>
                    <a:p>
                      <a:endParaRPr lang="en-US" sz="1200" kern="1200" dirty="0">
                        <a:solidFill>
                          <a:schemeClr val="dk1"/>
                        </a:solidFill>
                        <a:effectLst/>
                        <a:latin typeface="+mn-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1458903"/>
                  </a:ext>
                </a:extLst>
              </a:tr>
            </a:tbl>
          </a:graphicData>
        </a:graphic>
      </p:graphicFrame>
      <p:graphicFrame>
        <p:nvGraphicFramePr>
          <p:cNvPr id="12" name="Table 11">
            <a:extLst>
              <a:ext uri="{FF2B5EF4-FFF2-40B4-BE49-F238E27FC236}">
                <a16:creationId xmlns:a16="http://schemas.microsoft.com/office/drawing/2014/main" id="{CD681FA1-51F6-44F8-A90C-69F2BB5565C0}"/>
              </a:ext>
            </a:extLst>
          </p:cNvPr>
          <p:cNvGraphicFramePr>
            <a:graphicFrameLocks noGrp="1"/>
          </p:cNvGraphicFramePr>
          <p:nvPr>
            <p:extLst>
              <p:ext uri="{D42A27DB-BD31-4B8C-83A1-F6EECF244321}">
                <p14:modId xmlns:p14="http://schemas.microsoft.com/office/powerpoint/2010/main" val="3495943857"/>
              </p:ext>
            </p:extLst>
          </p:nvPr>
        </p:nvGraphicFramePr>
        <p:xfrm>
          <a:off x="426424" y="1941105"/>
          <a:ext cx="11125109" cy="301171"/>
        </p:xfrm>
        <a:graphic>
          <a:graphicData uri="http://schemas.openxmlformats.org/drawingml/2006/table">
            <a:tbl>
              <a:tblPr firstRow="1" bandRow="1">
                <a:tableStyleId>{F5AB1C69-6EDB-4FF4-983F-18BD219EF322}</a:tableStyleId>
              </a:tblPr>
              <a:tblGrid>
                <a:gridCol w="1300776">
                  <a:extLst>
                    <a:ext uri="{9D8B030D-6E8A-4147-A177-3AD203B41FA5}">
                      <a16:colId xmlns:a16="http://schemas.microsoft.com/office/drawing/2014/main" val="4095939447"/>
                    </a:ext>
                  </a:extLst>
                </a:gridCol>
                <a:gridCol w="3736051">
                  <a:extLst>
                    <a:ext uri="{9D8B030D-6E8A-4147-A177-3AD203B41FA5}">
                      <a16:colId xmlns:a16="http://schemas.microsoft.com/office/drawing/2014/main" val="690451674"/>
                    </a:ext>
                  </a:extLst>
                </a:gridCol>
                <a:gridCol w="6088282">
                  <a:extLst>
                    <a:ext uri="{9D8B030D-6E8A-4147-A177-3AD203B41FA5}">
                      <a16:colId xmlns:a16="http://schemas.microsoft.com/office/drawing/2014/main" val="4217532766"/>
                    </a:ext>
                  </a:extLst>
                </a:gridCol>
              </a:tblGrid>
              <a:tr h="301171">
                <a:tc>
                  <a:txBody>
                    <a:bodyPr/>
                    <a:lstStyle/>
                    <a:p>
                      <a:r>
                        <a:rPr lang="en-US" sz="1400" kern="0" dirty="0">
                          <a:solidFill>
                            <a:schemeClr val="tx2"/>
                          </a:solidFill>
                          <a:latin typeface="+mj-lt"/>
                          <a:ea typeface="+mn-ea"/>
                          <a:cs typeface="Segoe UI Semilight" panose="020B0402040204020203" pitchFamily="34" charset="0"/>
                        </a:rPr>
                        <a:t>Time</a:t>
                      </a:r>
                    </a:p>
                  </a:txBody>
                  <a:tcPr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0">
                          <a:solidFill>
                            <a:schemeClr val="tx2"/>
                          </a:solidFill>
                          <a:latin typeface="+mj-lt"/>
                          <a:ea typeface="+mn-ea"/>
                          <a:cs typeface="Segoe UI Semilight" panose="020B0402040204020203" pitchFamily="34" charset="0"/>
                        </a:rPr>
                        <a:t>Topic</a:t>
                      </a: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kern="0" dirty="0">
                          <a:solidFill>
                            <a:schemeClr val="tx2"/>
                          </a:solidFill>
                          <a:latin typeface="+mj-lt"/>
                          <a:ea typeface="+mn-ea"/>
                          <a:cs typeface="Segoe UI Semilight" panose="020B0402040204020203" pitchFamily="34" charset="0"/>
                        </a:rPr>
                        <a:t>Description</a:t>
                      </a:r>
                      <a:endParaRPr lang="en-US" sz="1400" kern="0" dirty="0">
                        <a:solidFill>
                          <a:schemeClr val="tx2"/>
                        </a:solidFill>
                        <a:latin typeface="+mj-lt"/>
                        <a:ea typeface="+mn-ea"/>
                        <a:cs typeface="Segoe UI Semilight" panose="020B0402040204020203" pitchFamily="34" charset="0"/>
                      </a:endParaRP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970249"/>
                  </a:ext>
                </a:extLst>
              </a:tr>
            </a:tbl>
          </a:graphicData>
        </a:graphic>
      </p:graphicFrame>
    </p:spTree>
    <p:extLst>
      <p:ext uri="{BB962C8B-B14F-4D97-AF65-F5344CB8AC3E}">
        <p14:creationId xmlns:p14="http://schemas.microsoft.com/office/powerpoint/2010/main" val="776579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a:t>What is Windows Virtual Desktop</a:t>
            </a:r>
            <a:r>
              <a:rPr lang="en-US">
                <a:cs typeface="Segoe UI Semibold"/>
              </a:rPr>
              <a:t>?</a:t>
            </a:r>
            <a:br>
              <a:rPr lang="en-US">
                <a:cs typeface="Segoe UI Semibold"/>
              </a:rPr>
            </a:br>
            <a:endParaRPr lang="en-US"/>
          </a:p>
        </p:txBody>
      </p:sp>
      <p:sp>
        <p:nvSpPr>
          <p:cNvPr id="4" name="Text Placeholder 3">
            <a:extLst>
              <a:ext uri="{FF2B5EF4-FFF2-40B4-BE49-F238E27FC236}">
                <a16:creationId xmlns:a16="http://schemas.microsoft.com/office/drawing/2014/main" id="{F9002DB4-7253-4947-918F-B3D7089F5AC2}"/>
              </a:ext>
            </a:extLst>
          </p:cNvPr>
          <p:cNvSpPr>
            <a:spLocks noGrp="1"/>
          </p:cNvSpPr>
          <p:nvPr>
            <p:ph type="body" sz="quarter" idx="11"/>
          </p:nvPr>
        </p:nvSpPr>
        <p:spPr>
          <a:xfrm>
            <a:off x="426425" y="2022309"/>
            <a:ext cx="5555965" cy="4557010"/>
          </a:xfrm>
        </p:spPr>
        <p:txBody>
          <a:bodyPr vert="horz" wrap="square" lIns="0" tIns="0" rIns="0" bIns="0" rtlCol="0" anchor="t">
            <a:noAutofit/>
          </a:bodyPr>
          <a:lstStyle/>
          <a:p>
            <a:pPr>
              <a:lnSpc>
                <a:spcPct val="100000"/>
              </a:lnSpc>
              <a:spcBef>
                <a:spcPts val="1961"/>
              </a:spcBef>
              <a:spcAft>
                <a:spcPts val="0"/>
              </a:spcAft>
            </a:pPr>
            <a:r>
              <a:rPr lang="en-US" sz="1800">
                <a:latin typeface="Segoe UI Light"/>
                <a:cs typeface="Segoe UI Light"/>
              </a:rPr>
              <a:t>Microsoft service on Azure for VDI/RDSH management</a:t>
            </a:r>
          </a:p>
          <a:p>
            <a:pPr marL="285750" indent="-285750">
              <a:lnSpc>
                <a:spcPct val="100000"/>
              </a:lnSpc>
              <a:spcBef>
                <a:spcPts val="1961"/>
              </a:spcBef>
              <a:spcAft>
                <a:spcPts val="0"/>
              </a:spcAft>
              <a:buFont typeface="Arial" panose="05000000000000000000" pitchFamily="2" charset="2"/>
              <a:buChar char="•"/>
            </a:pPr>
            <a:r>
              <a:rPr lang="en-US" sz="1800">
                <a:latin typeface="Segoe UI Light"/>
                <a:cs typeface="Segoe UI Light"/>
              </a:rPr>
              <a:t>Enables a multi-user Windows 10 experience, optimized for Office 365 </a:t>
            </a:r>
            <a:r>
              <a:rPr lang="en-US" sz="1800" err="1">
                <a:latin typeface="Segoe UI Light"/>
                <a:cs typeface="Segoe UI Light"/>
              </a:rPr>
              <a:t>ProPlus</a:t>
            </a:r>
            <a:endParaRPr lang="en-US" sz="1800">
              <a:latin typeface="Segoe UI Light"/>
              <a:cs typeface="Segoe UI Light"/>
            </a:endParaRPr>
          </a:p>
          <a:p>
            <a:pPr marL="285750" indent="-285750">
              <a:lnSpc>
                <a:spcPct val="100000"/>
              </a:lnSpc>
              <a:spcBef>
                <a:spcPts val="1961"/>
              </a:spcBef>
              <a:spcAft>
                <a:spcPts val="0"/>
              </a:spcAft>
              <a:buFont typeface="Arial" panose="05000000000000000000" pitchFamily="2" charset="2"/>
              <a:buChar char="•"/>
            </a:pPr>
            <a:r>
              <a:rPr lang="en-US" sz="1800">
                <a:latin typeface="Segoe UI Light"/>
                <a:cs typeface="Segoe UI Light"/>
              </a:rPr>
              <a:t>Most scalable service to deploy and manage</a:t>
            </a:r>
          </a:p>
          <a:p>
            <a:pPr marL="285750" indent="-285750">
              <a:lnSpc>
                <a:spcPct val="100000"/>
              </a:lnSpc>
              <a:spcBef>
                <a:spcPts val="1961"/>
              </a:spcBef>
              <a:spcAft>
                <a:spcPts val="0"/>
              </a:spcAft>
              <a:buFont typeface="Arial" panose="05000000000000000000" pitchFamily="2" charset="2"/>
              <a:buChar char="•"/>
            </a:pPr>
            <a:r>
              <a:rPr lang="en-US" sz="1800">
                <a:latin typeface="Segoe UI Light"/>
                <a:cs typeface="Segoe UI Light"/>
              </a:rPr>
              <a:t>Most flexible service allowing you to virtualize both desktops and apps</a:t>
            </a:r>
          </a:p>
          <a:p>
            <a:pPr marL="285750" indent="-285750">
              <a:lnSpc>
                <a:spcPct val="100000"/>
              </a:lnSpc>
              <a:spcBef>
                <a:spcPts val="1961"/>
              </a:spcBef>
              <a:spcAft>
                <a:spcPts val="0"/>
              </a:spcAft>
              <a:buFont typeface="Arial" panose="05000000000000000000" pitchFamily="2" charset="2"/>
              <a:buChar char="•"/>
            </a:pPr>
            <a:r>
              <a:rPr lang="en-US" sz="1800">
                <a:latin typeface="Segoe UI Light"/>
                <a:cs typeface="Segoe UI Light"/>
              </a:rPr>
              <a:t>Windows 7 virtual desktop with free Extended Security Updates</a:t>
            </a:r>
          </a:p>
          <a:p>
            <a:pPr marL="285750" indent="-285750">
              <a:lnSpc>
                <a:spcPct val="100000"/>
              </a:lnSpc>
              <a:spcBef>
                <a:spcPts val="1961"/>
              </a:spcBef>
              <a:spcAft>
                <a:spcPts val="0"/>
              </a:spcAft>
              <a:buFont typeface="Arial" panose="05000000000000000000" pitchFamily="2" charset="2"/>
              <a:buChar char="•"/>
            </a:pPr>
            <a:r>
              <a:rPr lang="en-US" sz="1800">
                <a:latin typeface="Segoe UI Light"/>
                <a:cs typeface="Segoe UI Light"/>
              </a:rPr>
              <a:t>Integrated with the security and management of Microsoft 365</a:t>
            </a:r>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1373" r="10508"/>
          <a:stretch/>
        </p:blipFill>
        <p:spPr>
          <a:xfrm>
            <a:off x="6209610" y="489"/>
            <a:ext cx="5982390" cy="6857027"/>
          </a:xfrm>
          <a:prstGeom prst="rect">
            <a:avLst/>
          </a:prstGeom>
        </p:spPr>
      </p:pic>
    </p:spTree>
    <p:extLst>
      <p:ext uri="{BB962C8B-B14F-4D97-AF65-F5344CB8AC3E}">
        <p14:creationId xmlns:p14="http://schemas.microsoft.com/office/powerpoint/2010/main" val="194725373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14="http://schemas.microsoft.com/office/drawing/2010/main"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 shot of a computer&#10;&#10;Description generated with very high confidence">
            <a:extLst>
              <a:ext uri="{FF2B5EF4-FFF2-40B4-BE49-F238E27FC236}">
                <a16:creationId xmlns:a16="http://schemas.microsoft.com/office/drawing/2014/main" id="{58B566CC-E837-4284-AB02-EB87B365E75A}"/>
              </a:ext>
            </a:extLst>
          </p:cNvPr>
          <p:cNvPicPr>
            <a:picLocks noChangeAspect="1"/>
          </p:cNvPicPr>
          <p:nvPr/>
        </p:nvPicPr>
        <p:blipFill>
          <a:blip r:embed="rId3"/>
          <a:stretch>
            <a:fillRect/>
          </a:stretch>
        </p:blipFill>
        <p:spPr>
          <a:xfrm>
            <a:off x="5410578" y="0"/>
            <a:ext cx="6781422" cy="6858000"/>
          </a:xfrm>
          <a:prstGeom prst="rect">
            <a:avLst/>
          </a:prstGeom>
        </p:spPr>
      </p:pic>
      <p:sp>
        <p:nvSpPr>
          <p:cNvPr id="12" name="Text Placeholder 2">
            <a:extLst>
              <a:ext uri="{FF2B5EF4-FFF2-40B4-BE49-F238E27FC236}">
                <a16:creationId xmlns:a16="http://schemas.microsoft.com/office/drawing/2014/main" id="{5C5059DE-67CF-4A16-9793-F2A546CBFAAF}"/>
              </a:ext>
            </a:extLst>
          </p:cNvPr>
          <p:cNvSpPr>
            <a:spLocks noGrp="1"/>
          </p:cNvSpPr>
          <p:nvPr>
            <p:ph type="body" sz="quarter" idx="10"/>
          </p:nvPr>
        </p:nvSpPr>
        <p:spPr>
          <a:xfrm>
            <a:off x="437318" y="1426507"/>
            <a:ext cx="5525916" cy="3034677"/>
          </a:xfrm>
        </p:spPr>
        <p:txBody>
          <a:bodyPr vert="horz" wrap="square" lIns="0" tIns="0" rIns="0" bIns="0" rtlCol="0" anchor="t">
            <a:spAutoFit/>
          </a:bodyPr>
          <a:lstStyle/>
          <a:p>
            <a:pPr>
              <a:spcAft>
                <a:spcPts val="3000"/>
              </a:spcAft>
            </a:pPr>
            <a:r>
              <a:rPr lang="en-US" sz="1800">
                <a:latin typeface="Segoe UI Light" panose="020B0502040204020203" pitchFamily="34" charset="0"/>
                <a:cs typeface="Segoe UI Light" panose="020B0502040204020203" pitchFamily="34" charset="0"/>
              </a:rPr>
              <a:t>Windows 10 Enterprise with multi-user capability </a:t>
            </a:r>
          </a:p>
          <a:p>
            <a:pPr>
              <a:spcAft>
                <a:spcPts val="3000"/>
              </a:spcAft>
            </a:pPr>
            <a:r>
              <a:rPr lang="en-US" sz="1800">
                <a:latin typeface="Segoe UI Light" panose="020B0502040204020203" pitchFamily="34" charset="0"/>
                <a:cs typeface="Segoe UI Light" panose="020B0502040204020203" pitchFamily="34" charset="0"/>
              </a:rPr>
              <a:t>Semi-annual channel cadence</a:t>
            </a:r>
          </a:p>
          <a:p>
            <a:pPr>
              <a:spcAft>
                <a:spcPts val="3000"/>
              </a:spcAft>
            </a:pPr>
            <a:r>
              <a:rPr lang="en-US" sz="1800">
                <a:latin typeface="Segoe UI Light" panose="020B0502040204020203" pitchFamily="34" charset="0"/>
                <a:cs typeface="Segoe UI Light" panose="020B0502040204020203" pitchFamily="34" charset="0"/>
              </a:rPr>
              <a:t>Great application compatibility</a:t>
            </a:r>
          </a:p>
          <a:p>
            <a:pPr>
              <a:spcAft>
                <a:spcPts val="3000"/>
              </a:spcAft>
            </a:pPr>
            <a:r>
              <a:rPr lang="en-US" sz="1800">
                <a:latin typeface="Segoe UI Light" panose="020B0502040204020203" pitchFamily="34" charset="0"/>
                <a:cs typeface="Segoe UI Light" panose="020B0502040204020203" pitchFamily="34" charset="0"/>
              </a:rPr>
              <a:t>Support for modern apps like Edge, Cortana, and Microsoft Store</a:t>
            </a:r>
          </a:p>
          <a:p>
            <a:pPr>
              <a:spcAft>
                <a:spcPts val="3000"/>
              </a:spcAft>
            </a:pPr>
            <a:r>
              <a:rPr lang="en-US" sz="1800">
                <a:latin typeface="Segoe UI Light" panose="020B0502040204020203" pitchFamily="34" charset="0"/>
                <a:cs typeface="Segoe UI Light" panose="020B0502040204020203" pitchFamily="34" charset="0"/>
              </a:rPr>
              <a:t>Optimized for Office 365 ProPlus</a:t>
            </a:r>
          </a:p>
        </p:txBody>
      </p:sp>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440497"/>
            <a:ext cx="5525917" cy="739343"/>
          </a:xfrm>
        </p:spPr>
        <p:txBody>
          <a:bodyPr/>
          <a:lstStyle/>
          <a:p>
            <a:r>
              <a:rPr lang="en-US"/>
              <a:t>Multi-user Windows 10</a:t>
            </a:r>
            <a:br>
              <a:rPr lang="en-US"/>
            </a:br>
            <a:endParaRPr lang="en-US"/>
          </a:p>
        </p:txBody>
      </p:sp>
      <p:pic>
        <p:nvPicPr>
          <p:cNvPr id="3" name="Picture 2">
            <a:extLst>
              <a:ext uri="{FF2B5EF4-FFF2-40B4-BE49-F238E27FC236}">
                <a16:creationId xmlns:a16="http://schemas.microsoft.com/office/drawing/2014/main" id="{8DEC8A17-05C7-496C-B69E-9503BDFBD687}"/>
              </a:ext>
            </a:extLst>
          </p:cNvPr>
          <p:cNvPicPr>
            <a:picLocks noChangeAspect="1"/>
          </p:cNvPicPr>
          <p:nvPr/>
        </p:nvPicPr>
        <p:blipFill rotWithShape="1">
          <a:blip r:embed="rId4"/>
          <a:srcRect r="36403"/>
          <a:stretch/>
        </p:blipFill>
        <p:spPr>
          <a:xfrm>
            <a:off x="6755907" y="511111"/>
            <a:ext cx="5436093" cy="4857594"/>
          </a:xfrm>
          <a:prstGeom prst="rect">
            <a:avLst/>
          </a:prstGeom>
        </p:spPr>
      </p:pic>
    </p:spTree>
    <p:extLst>
      <p:ext uri="{BB962C8B-B14F-4D97-AF65-F5344CB8AC3E}">
        <p14:creationId xmlns:p14="http://schemas.microsoft.com/office/powerpoint/2010/main" val="14973770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CAD5CD7-8C45-4D02-AEC2-4416CF828342}"/>
              </a:ext>
            </a:extLst>
          </p:cNvPr>
          <p:cNvSpPr>
            <a:spLocks noGrp="1"/>
          </p:cNvSpPr>
          <p:nvPr>
            <p:ph type="title"/>
          </p:nvPr>
        </p:nvSpPr>
        <p:spPr/>
        <p:txBody>
          <a:bodyPr/>
          <a:lstStyle/>
          <a:p>
            <a:r>
              <a:rPr lang="en-US"/>
              <a:t>Office 365 ProPlus</a:t>
            </a:r>
          </a:p>
        </p:txBody>
      </p:sp>
      <p:sp>
        <p:nvSpPr>
          <p:cNvPr id="3" name="Content Placeholder 2">
            <a:extLst>
              <a:ext uri="{FF2B5EF4-FFF2-40B4-BE49-F238E27FC236}">
                <a16:creationId xmlns:a16="http://schemas.microsoft.com/office/drawing/2014/main" id="{1F96FAF6-F4B7-48BE-B599-069FDB9F2AA1}"/>
              </a:ext>
            </a:extLst>
          </p:cNvPr>
          <p:cNvSpPr>
            <a:spLocks noGrp="1"/>
          </p:cNvSpPr>
          <p:nvPr>
            <p:ph type="body" sz="quarter" idx="10"/>
          </p:nvPr>
        </p:nvSpPr>
        <p:spPr>
          <a:xfrm>
            <a:off x="588263" y="2592401"/>
            <a:ext cx="5271486" cy="1809726"/>
          </a:xfrm>
        </p:spPr>
        <p:txBody>
          <a:bodyPr anchor="ctr"/>
          <a:lstStyle/>
          <a:p>
            <a:pPr algn="ctr"/>
            <a:r>
              <a:rPr lang="en-US" b="1"/>
              <a:t>Our vision</a:t>
            </a:r>
          </a:p>
          <a:p>
            <a:pPr algn="ctr"/>
            <a:r>
              <a:rPr lang="en-US"/>
              <a:t>Provide a first-class experience of Office 365 ProPlus in virtualized environments. </a:t>
            </a:r>
          </a:p>
        </p:txBody>
      </p:sp>
      <p:sp>
        <p:nvSpPr>
          <p:cNvPr id="4" name="Rectangle 3">
            <a:extLst>
              <a:ext uri="{FF2B5EF4-FFF2-40B4-BE49-F238E27FC236}">
                <a16:creationId xmlns:a16="http://schemas.microsoft.com/office/drawing/2014/main" id="{A6156AB1-0BE8-46DC-8A88-99A218DB2AF1}"/>
              </a:ext>
            </a:extLst>
          </p:cNvPr>
          <p:cNvSpPr/>
          <p:nvPr/>
        </p:nvSpPr>
        <p:spPr bwMode="auto">
          <a:xfrm>
            <a:off x="10332720" y="0"/>
            <a:ext cx="1859280" cy="457200"/>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Gama</a:t>
            </a:r>
          </a:p>
        </p:txBody>
      </p:sp>
      <p:pic>
        <p:nvPicPr>
          <p:cNvPr id="6" name="Picture Placeholder 4" descr="A person sitting at a table using a computer&#10;&#10;Description generated with very high confidence">
            <a:extLst>
              <a:ext uri="{FF2B5EF4-FFF2-40B4-BE49-F238E27FC236}">
                <a16:creationId xmlns:a16="http://schemas.microsoft.com/office/drawing/2014/main" id="{230C0B89-4A32-4712-A01A-FF55A6F63E60}"/>
              </a:ext>
            </a:extLst>
          </p:cNvPr>
          <p:cNvPicPr>
            <a:picLocks noChangeAspect="1"/>
          </p:cNvPicPr>
          <p:nvPr/>
        </p:nvPicPr>
        <p:blipFill rotWithShape="1">
          <a:blip r:embed="rId3">
            <a:extLst>
              <a:ext uri="{28A0092B-C50C-407E-A947-70E740481C1C}">
                <a14:useLocalDpi xmlns:a14="http://schemas.microsoft.com/office/drawing/2010/main" val="0"/>
              </a:ext>
            </a:extLst>
          </a:blip>
          <a:srcRect l="31373" r="10508"/>
          <a:stretch/>
        </p:blipFill>
        <p:spPr>
          <a:xfrm>
            <a:off x="6334125" y="2"/>
            <a:ext cx="6102349" cy="6994525"/>
          </a:xfrm>
          <a:prstGeom prst="rect">
            <a:avLst/>
          </a:prstGeom>
        </p:spPr>
      </p:pic>
    </p:spTree>
    <p:extLst>
      <p:ext uri="{BB962C8B-B14F-4D97-AF65-F5344CB8AC3E}">
        <p14:creationId xmlns:p14="http://schemas.microsoft.com/office/powerpoint/2010/main" val="37949688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BA7406-72F0-4ACF-9BD3-9F96D3953988}"/>
              </a:ext>
            </a:extLst>
          </p:cNvPr>
          <p:cNvSpPr>
            <a:spLocks noGrp="1"/>
          </p:cNvSpPr>
          <p:nvPr>
            <p:ph type="title"/>
          </p:nvPr>
        </p:nvSpPr>
        <p:spPr/>
        <p:txBody>
          <a:bodyPr/>
          <a:lstStyle/>
          <a:p>
            <a:r>
              <a:rPr lang="en-US"/>
              <a:t>Other applications</a:t>
            </a:r>
          </a:p>
        </p:txBody>
      </p:sp>
      <p:sp>
        <p:nvSpPr>
          <p:cNvPr id="6" name="Text Placeholder 5">
            <a:extLst>
              <a:ext uri="{FF2B5EF4-FFF2-40B4-BE49-F238E27FC236}">
                <a16:creationId xmlns:a16="http://schemas.microsoft.com/office/drawing/2014/main" id="{F56A683D-733F-4523-BB21-92BEFEAD8C95}"/>
              </a:ext>
            </a:extLst>
          </p:cNvPr>
          <p:cNvSpPr>
            <a:spLocks noGrp="1"/>
          </p:cNvSpPr>
          <p:nvPr>
            <p:ph type="body" sz="quarter" idx="10"/>
          </p:nvPr>
        </p:nvSpPr>
        <p:spPr>
          <a:xfrm>
            <a:off x="584200" y="1435497"/>
            <a:ext cx="11018520" cy="4789003"/>
          </a:xfrm>
        </p:spPr>
        <p:txBody>
          <a:bodyPr vert="horz" wrap="square" lIns="0" tIns="0" rIns="0" bIns="0" rtlCol="0" anchor="t">
            <a:spAutoFit/>
          </a:bodyPr>
          <a:lstStyle/>
          <a:p>
            <a:r>
              <a:rPr lang="en-US" dirty="0"/>
              <a:t>2500+ applications tested</a:t>
            </a:r>
          </a:p>
          <a:p>
            <a:r>
              <a:rPr lang="en-US" dirty="0"/>
              <a:t>Top apps include Adobe suite of applications, Google Chrome, etc.</a:t>
            </a:r>
          </a:p>
          <a:p>
            <a:r>
              <a:rPr lang="en-US" dirty="0"/>
              <a:t>High application compatibility like never before</a:t>
            </a:r>
          </a:p>
          <a:p>
            <a:pPr marL="0" indent="0">
              <a:buNone/>
            </a:pPr>
            <a:endParaRPr lang="en-US" dirty="0"/>
          </a:p>
          <a:p>
            <a:pPr marL="0" indent="0">
              <a:buNone/>
            </a:pPr>
            <a:r>
              <a:rPr lang="en-US" dirty="0"/>
              <a:t>Goals:</a:t>
            </a:r>
          </a:p>
          <a:p>
            <a:r>
              <a:rPr lang="en-US" dirty="0"/>
              <a:t>Identical images for both single- and multi-user scenarios</a:t>
            </a:r>
          </a:p>
          <a:p>
            <a:pPr lvl="1"/>
            <a:r>
              <a:rPr lang="en-US" dirty="0"/>
              <a:t>App compatibility with Windows Server RD Session Host applications</a:t>
            </a:r>
          </a:p>
          <a:p>
            <a:pPr lvl="1"/>
            <a:r>
              <a:rPr lang="en-US" dirty="0"/>
              <a:t>App compatibility with Windows </a:t>
            </a:r>
            <a:r>
              <a:rPr lang="en-US"/>
              <a:t>10 Enterprise</a:t>
            </a:r>
            <a:endParaRPr lang="en-US" dirty="0"/>
          </a:p>
          <a:p>
            <a:endParaRPr lang="en-US" dirty="0"/>
          </a:p>
          <a:p>
            <a:endParaRPr lang="en-US" dirty="0"/>
          </a:p>
        </p:txBody>
      </p:sp>
    </p:spTree>
    <p:extLst>
      <p:ext uri="{BB962C8B-B14F-4D97-AF65-F5344CB8AC3E}">
        <p14:creationId xmlns:p14="http://schemas.microsoft.com/office/powerpoint/2010/main" val="20312717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76CCB89-7A76-41E7-8D8D-436D4E166943}"/>
              </a:ext>
            </a:extLst>
          </p:cNvPr>
          <p:cNvSpPr/>
          <p:nvPr/>
        </p:nvSpPr>
        <p:spPr bwMode="auto">
          <a:xfrm>
            <a:off x="581595" y="1787670"/>
            <a:ext cx="5427172" cy="4480560"/>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t>Windows Server 2019 </a:t>
            </a:r>
            <a:b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t>Desktop Experience</a:t>
            </a:r>
            <a:b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rPr>
              <a:t>Scalable multi-user </a:t>
            </a:r>
            <a:r>
              <a:rPr kumimoji="0" lang="en-US" sz="1600" b="1" i="0" u="none" strike="noStrike" kern="1200" cap="none" spc="-50" normalizeH="0" baseline="0" noProof="0">
                <a:ln w="3175">
                  <a:noFill/>
                </a:ln>
                <a:solidFill>
                  <a:srgbClr val="1A1A1A"/>
                </a:solidFill>
                <a:effectLst/>
                <a:uLnTx/>
                <a:uFillTx/>
                <a:latin typeface="Segoe UI"/>
                <a:ea typeface="+mn-ea"/>
                <a:cs typeface="Segoe UI" pitchFamily="34" charset="0"/>
              </a:rPr>
              <a:t>legacy</a:t>
            </a:r>
            <a:br>
              <a:rPr kumimoji="0" lang="en-US" sz="1600" b="1" i="0" u="none" strike="noStrike" kern="1200" cap="none" spc="-50" normalizeH="0" baseline="0" noProof="0">
                <a:ln w="3175">
                  <a:noFill/>
                </a:ln>
                <a:solidFill>
                  <a:srgbClr val="1A1A1A"/>
                </a:solidFill>
                <a:effectLst/>
                <a:uLnTx/>
                <a:uFillTx/>
                <a:latin typeface="Segoe UI"/>
                <a:ea typeface="+mn-ea"/>
                <a:cs typeface="Segoe UI" pitchFamily="34" charset="0"/>
              </a:rPr>
            </a:br>
            <a:r>
              <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rPr>
              <a:t>Windows environment.</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br>
            <a:b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b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Windows Server 2019</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Multiple users</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Win32</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Office 2019 Perpetual</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Long-Term Servicing Channel</a:t>
            </a: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50B3AE75-AE30-40BF-B270-A4FE2765E7DA}"/>
              </a:ext>
            </a:extLst>
          </p:cNvPr>
          <p:cNvSpPr/>
          <p:nvPr/>
        </p:nvSpPr>
        <p:spPr bwMode="auto">
          <a:xfrm>
            <a:off x="6179611" y="1787670"/>
            <a:ext cx="5427172" cy="44805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Windows 10 </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Enterprise</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Native single-session </a:t>
            </a:r>
            <a:r>
              <a:rPr kumimoji="0" lang="en-US" sz="1600" b="1" i="0" u="none" strike="noStrike" kern="1200" cap="none" spc="-50" normalizeH="0" baseline="0" noProof="0">
                <a:ln w="3175">
                  <a:noFill/>
                </a:ln>
                <a:solidFill>
                  <a:srgbClr val="FFFFFF"/>
                </a:solidFill>
                <a:effectLst/>
                <a:uLnTx/>
                <a:uFillTx/>
                <a:latin typeface="Segoe UI"/>
                <a:ea typeface="+mn-ea"/>
                <a:cs typeface="Segoe UI" pitchFamily="34" charset="0"/>
              </a:rPr>
              <a:t>modern</a:t>
            </a:r>
            <a:br>
              <a:rPr kumimoji="0" lang="en-US" sz="1600" b="1" i="0" u="none" strike="noStrike" kern="1200" cap="none" spc="-50" normalizeH="0" baseline="0" noProof="0">
                <a:ln w="3175">
                  <a:noFill/>
                </a:ln>
                <a:solidFill>
                  <a:srgbClr val="FFFFFF"/>
                </a:solidFill>
                <a:effectLst/>
                <a:uLnTx/>
                <a:uFillTx/>
                <a:latin typeface="Segoe UI"/>
                <a:ea typeface="+mn-ea"/>
                <a:cs typeface="Segoe UI" pitchFamily="34" charset="0"/>
              </a:rPr>
            </a:b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Windows experience.</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br>
            <a:b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dows 10</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Single user</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32, UWP</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Office 365 </a:t>
            </a:r>
            <a:r>
              <a:rPr kumimoji="0" lang="en-US" sz="1600" b="0" i="0" u="none" strike="noStrike" kern="1200" cap="none" spc="-50" normalizeH="0" baseline="0" noProof="0" err="1">
                <a:ln w="3175">
                  <a:noFill/>
                </a:ln>
                <a:solidFill>
                  <a:srgbClr val="FFFFFF"/>
                </a:solidFill>
                <a:effectLst/>
                <a:uLnTx/>
                <a:uFillTx/>
                <a:latin typeface="Segoe UI Semibold"/>
                <a:ea typeface="+mn-ea"/>
                <a:cs typeface="Segoe UI" pitchFamily="34" charset="0"/>
              </a:rPr>
              <a:t>ProPlus</a:t>
            </a:r>
            <a:endPar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Semi-Annual Channel</a:t>
            </a:r>
          </a:p>
        </p:txBody>
      </p:sp>
      <p:sp>
        <p:nvSpPr>
          <p:cNvPr id="2" name="Title 1"/>
          <p:cNvSpPr>
            <a:spLocks noGrp="1"/>
          </p:cNvSpPr>
          <p:nvPr>
            <p:ph type="title"/>
          </p:nvPr>
        </p:nvSpPr>
        <p:spPr/>
        <p:txBody>
          <a:bodyPr/>
          <a:lstStyle/>
          <a:p>
            <a:pPr algn="ctr"/>
            <a:r>
              <a:rPr lang="en-US"/>
              <a:t>Virtualization hosts today</a:t>
            </a:r>
          </a:p>
        </p:txBody>
      </p:sp>
      <p:cxnSp>
        <p:nvCxnSpPr>
          <p:cNvPr id="9" name="Straight Connector 8">
            <a:extLst>
              <a:ext uri="{FF2B5EF4-FFF2-40B4-BE49-F238E27FC236}">
                <a16:creationId xmlns:a16="http://schemas.microsoft.com/office/drawing/2014/main" id="{3ABB3789-2DED-4D1C-B063-61D0836B7A10}"/>
              </a:ext>
            </a:extLst>
          </p:cNvPr>
          <p:cNvCxnSpPr/>
          <p:nvPr/>
        </p:nvCxnSpPr>
        <p:spPr>
          <a:xfrm>
            <a:off x="1092309" y="3745344"/>
            <a:ext cx="4405745"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148676C-D636-4258-8C85-467748058DA8}"/>
              </a:ext>
            </a:extLst>
          </p:cNvPr>
          <p:cNvCxnSpPr/>
          <p:nvPr/>
        </p:nvCxnSpPr>
        <p:spPr>
          <a:xfrm>
            <a:off x="6690325" y="3745344"/>
            <a:ext cx="4405745"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101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16="http://schemas.microsoft.com/office/drawing/2014/main"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76CCB89-7A76-41E7-8D8D-436D4E166943}"/>
              </a:ext>
            </a:extLst>
          </p:cNvPr>
          <p:cNvSpPr/>
          <p:nvPr/>
        </p:nvSpPr>
        <p:spPr bwMode="auto">
          <a:xfrm>
            <a:off x="581595" y="1798638"/>
            <a:ext cx="3429000" cy="4480560"/>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t>Windows Server 2019 </a:t>
            </a:r>
            <a:b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t>RD Session Host</a:t>
            </a:r>
            <a:br>
              <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a:ln>
                <a:noFill/>
              </a:ln>
              <a:solidFill>
                <a:srgbClr val="1A1A1A"/>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rPr>
              <a:t>Scalable multi-user </a:t>
            </a:r>
            <a:r>
              <a:rPr kumimoji="0" lang="en-US" sz="1600" b="1" i="0" u="none" strike="noStrike" kern="1200" cap="none" spc="-50" normalizeH="0" baseline="0" noProof="0">
                <a:ln w="3175">
                  <a:noFill/>
                </a:ln>
                <a:solidFill>
                  <a:srgbClr val="1A1A1A"/>
                </a:solidFill>
                <a:effectLst/>
                <a:uLnTx/>
                <a:uFillTx/>
                <a:latin typeface="Segoe UI"/>
                <a:ea typeface="+mn-ea"/>
                <a:cs typeface="Segoe UI" pitchFamily="34" charset="0"/>
              </a:rPr>
              <a:t>legacy</a:t>
            </a:r>
            <a:br>
              <a:rPr kumimoji="0" lang="en-US" sz="1600" b="1" i="0" u="none" strike="noStrike" kern="1200" cap="none" spc="-50" normalizeH="0" baseline="0" noProof="0">
                <a:ln w="3175">
                  <a:noFill/>
                </a:ln>
                <a:solidFill>
                  <a:srgbClr val="1A1A1A"/>
                </a:solidFill>
                <a:effectLst/>
                <a:uLnTx/>
                <a:uFillTx/>
                <a:latin typeface="Segoe UI"/>
                <a:ea typeface="+mn-ea"/>
                <a:cs typeface="Segoe UI" pitchFamily="34" charset="0"/>
              </a:rPr>
            </a:br>
            <a:r>
              <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rPr>
              <a:t>Windows environment.</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br>
            <a:b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b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Windows Server 2019</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Multiple users</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Win32</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Office 2019 Perpetual</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rPr>
              <a:t>Long-Term Servicing Channel</a:t>
            </a: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1A1A1A"/>
              </a:soli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50B3AE75-AE30-40BF-B270-A4FE2765E7DA}"/>
              </a:ext>
            </a:extLst>
          </p:cNvPr>
          <p:cNvSpPr/>
          <p:nvPr/>
        </p:nvSpPr>
        <p:spPr bwMode="auto">
          <a:xfrm>
            <a:off x="8176195" y="1798635"/>
            <a:ext cx="3429000" cy="44805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Windows 10 </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Enterprise</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Native single-session </a:t>
            </a:r>
            <a:r>
              <a:rPr kumimoji="0" lang="en-US" sz="1600" b="1" i="0" u="none" strike="noStrike" kern="1200" cap="none" spc="-50" normalizeH="0" baseline="0" noProof="0">
                <a:ln w="3175">
                  <a:noFill/>
                </a:ln>
                <a:solidFill>
                  <a:srgbClr val="FFFFFF"/>
                </a:solidFill>
                <a:effectLst/>
                <a:uLnTx/>
                <a:uFillTx/>
                <a:latin typeface="Segoe UI"/>
                <a:ea typeface="+mn-ea"/>
                <a:cs typeface="Segoe UI" pitchFamily="34" charset="0"/>
              </a:rPr>
              <a:t>modern</a:t>
            </a:r>
            <a:br>
              <a:rPr kumimoji="0" lang="en-US" sz="1600" b="1" i="0" u="none" strike="noStrike" kern="1200" cap="none" spc="-50" normalizeH="0" baseline="0" noProof="0">
                <a:ln w="3175">
                  <a:noFill/>
                </a:ln>
                <a:solidFill>
                  <a:srgbClr val="FFFFFF"/>
                </a:solidFill>
                <a:effectLst/>
                <a:uLnTx/>
                <a:uFillTx/>
                <a:latin typeface="Segoe UI"/>
                <a:ea typeface="+mn-ea"/>
                <a:cs typeface="Segoe UI" pitchFamily="34" charset="0"/>
              </a:rPr>
            </a:b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Windows experience.</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br>
            <a:b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dows 10</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Single user</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32, UWP</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Office 365 </a:t>
            </a:r>
            <a:r>
              <a:rPr kumimoji="0" lang="en-US" sz="1600" b="0" i="0" u="none" strike="noStrike" kern="1200" cap="none" spc="-50" normalizeH="0" baseline="0" noProof="0" err="1">
                <a:ln w="3175">
                  <a:noFill/>
                </a:ln>
                <a:solidFill>
                  <a:srgbClr val="FFFFFF"/>
                </a:solidFill>
                <a:effectLst/>
                <a:uLnTx/>
                <a:uFillTx/>
                <a:latin typeface="Segoe UI Semibold"/>
                <a:ea typeface="+mn-ea"/>
                <a:cs typeface="Segoe UI" pitchFamily="34" charset="0"/>
              </a:rPr>
              <a:t>ProPlus</a:t>
            </a:r>
            <a:endPar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Semi-Annual Channel</a:t>
            </a: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sp>
        <p:nvSpPr>
          <p:cNvPr id="2" name="Title 1"/>
          <p:cNvSpPr>
            <a:spLocks noGrp="1"/>
          </p:cNvSpPr>
          <p:nvPr>
            <p:ph type="title"/>
          </p:nvPr>
        </p:nvSpPr>
        <p:spPr/>
        <p:txBody>
          <a:bodyPr/>
          <a:lstStyle/>
          <a:p>
            <a:pPr algn="ctr"/>
            <a:r>
              <a:rPr lang="en-US"/>
              <a:t>Virtualization hosts of the future</a:t>
            </a:r>
          </a:p>
        </p:txBody>
      </p:sp>
      <p:sp>
        <p:nvSpPr>
          <p:cNvPr id="6" name="Rectangle 5">
            <a:extLst>
              <a:ext uri="{FF2B5EF4-FFF2-40B4-BE49-F238E27FC236}">
                <a16:creationId xmlns:a16="http://schemas.microsoft.com/office/drawing/2014/main" id="{B3F34040-B007-4226-B027-13875CA2CD23}"/>
              </a:ext>
            </a:extLst>
          </p:cNvPr>
          <p:cNvSpPr/>
          <p:nvPr/>
        </p:nvSpPr>
        <p:spPr bwMode="auto">
          <a:xfrm>
            <a:off x="4379689" y="1798635"/>
            <a:ext cx="3429000" cy="44805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Windows 10 </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Enterprise multi </a:t>
            </a:r>
            <a:r>
              <a:rPr kumimoji="0" lang="en-US" sz="1800" b="0" i="0" u="none" strike="noStrike" kern="1200" cap="none" spc="0" normalizeH="0" baseline="0" noProof="0">
                <a:ln>
                  <a:noFill/>
                </a:ln>
                <a:solidFill>
                  <a:srgbClr val="FFFFFF"/>
                </a:solidFill>
                <a:effectLst/>
                <a:uLnTx/>
                <a:uFillTx/>
                <a:latin typeface="Segoe UI"/>
                <a:ea typeface="+mn-ea"/>
                <a:cs typeface="+mn-cs"/>
              </a:rPr>
              <a:t>user</a:t>
            </a:r>
            <a:br>
              <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Scalable multi-user </a:t>
            </a:r>
            <a:r>
              <a:rPr kumimoji="0" lang="en-US" sz="1600" b="1" i="0" u="none" strike="noStrike" kern="1200" cap="none" spc="-50" normalizeH="0" baseline="0" noProof="0">
                <a:ln w="3175">
                  <a:noFill/>
                </a:ln>
                <a:solidFill>
                  <a:srgbClr val="FFFFFF"/>
                </a:solidFill>
                <a:effectLst/>
                <a:uLnTx/>
                <a:uFillTx/>
                <a:latin typeface="Segoe UI"/>
                <a:ea typeface="+mn-ea"/>
                <a:cs typeface="Segoe UI" pitchFamily="34" charset="0"/>
              </a:rPr>
              <a:t>modern</a:t>
            </a:r>
            <a:r>
              <a:rPr kumimoji="0" lang="en-US" sz="1600" b="0" i="0" u="none" strike="noStrike" kern="1200" cap="none" spc="-50" normalizeH="0" baseline="0" noProof="0">
                <a:ln w="3175">
                  <a:noFill/>
                </a:ln>
                <a:solidFill>
                  <a:srgbClr val="FFFFFF"/>
                </a:solidFill>
                <a:effectLst/>
                <a:uLnTx/>
                <a:uFillTx/>
                <a:latin typeface="Segoe UI"/>
                <a:ea typeface="+mn-ea"/>
                <a:cs typeface="Segoe UI" pitchFamily="34" charset="0"/>
              </a:rPr>
              <a:t> Windows user experience with Windows 10 Enterprise security </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dows 10</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Multiple users</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Win32, UWP</a:t>
            </a: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Office 365 </a:t>
            </a:r>
            <a:r>
              <a:rPr kumimoji="0" lang="en-US" sz="1600" b="0" i="0" u="none" strike="noStrike" kern="1200" cap="none" spc="-50" normalizeH="0" baseline="0" noProof="0" err="1">
                <a:ln w="3175">
                  <a:noFill/>
                </a:ln>
                <a:solidFill>
                  <a:srgbClr val="FFFFFF"/>
                </a:solidFill>
                <a:effectLst/>
                <a:uLnTx/>
                <a:uFillTx/>
                <a:latin typeface="Segoe UI Semibold"/>
                <a:ea typeface="+mn-ea"/>
                <a:cs typeface="Segoe UI" pitchFamily="34" charset="0"/>
              </a:rPr>
              <a:t>ProPlus</a:t>
            </a:r>
            <a:endPar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600"/>
              </a:spcAft>
              <a:buClrTx/>
              <a:buSzTx/>
              <a:buFontTx/>
              <a:buNone/>
              <a:tabLst/>
              <a:defRPr/>
            </a:pPr>
            <a:r>
              <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rPr>
              <a:t>Semi-Annual Channel</a:t>
            </a:r>
          </a:p>
        </p:txBody>
      </p:sp>
      <p:cxnSp>
        <p:nvCxnSpPr>
          <p:cNvPr id="10" name="Straight Connector 9">
            <a:extLst>
              <a:ext uri="{FF2B5EF4-FFF2-40B4-BE49-F238E27FC236}">
                <a16:creationId xmlns:a16="http://schemas.microsoft.com/office/drawing/2014/main" id="{D1D20D3A-2388-4EAC-90B8-68A48C997BC9}"/>
              </a:ext>
            </a:extLst>
          </p:cNvPr>
          <p:cNvCxnSpPr>
            <a:cxnSpLocks/>
          </p:cNvCxnSpPr>
          <p:nvPr/>
        </p:nvCxnSpPr>
        <p:spPr>
          <a:xfrm>
            <a:off x="1055013" y="3745344"/>
            <a:ext cx="2482164"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B66ED7-3536-4DF8-939B-851B98263A75}"/>
              </a:ext>
            </a:extLst>
          </p:cNvPr>
          <p:cNvCxnSpPr>
            <a:cxnSpLocks/>
          </p:cNvCxnSpPr>
          <p:nvPr/>
        </p:nvCxnSpPr>
        <p:spPr>
          <a:xfrm>
            <a:off x="8647111" y="3745344"/>
            <a:ext cx="2487168"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C9ABE9B-2232-4023-A6BC-58E861DEB1CF}"/>
              </a:ext>
            </a:extLst>
          </p:cNvPr>
          <p:cNvGrpSpPr/>
          <p:nvPr/>
        </p:nvGrpSpPr>
        <p:grpSpPr>
          <a:xfrm>
            <a:off x="5675706" y="1152348"/>
            <a:ext cx="835378" cy="835378"/>
            <a:chOff x="5675706" y="1050748"/>
            <a:chExt cx="835378" cy="835378"/>
          </a:xfrm>
        </p:grpSpPr>
        <p:sp>
          <p:nvSpPr>
            <p:cNvPr id="8" name="Oval 7">
              <a:extLst>
                <a:ext uri="{FF2B5EF4-FFF2-40B4-BE49-F238E27FC236}">
                  <a16:creationId xmlns:a16="http://schemas.microsoft.com/office/drawing/2014/main" id="{08FF07FC-8BCB-4F77-8E19-BDAC86FDB339}"/>
                </a:ext>
              </a:extLst>
            </p:cNvPr>
            <p:cNvSpPr/>
            <p:nvPr/>
          </p:nvSpPr>
          <p:spPr bwMode="auto">
            <a:xfrm>
              <a:off x="5675706" y="1050748"/>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5" name="Ribbon2_F19B" title="Icon of a star shaped ribbon">
              <a:extLst>
                <a:ext uri="{FF2B5EF4-FFF2-40B4-BE49-F238E27FC236}">
                  <a16:creationId xmlns:a16="http://schemas.microsoft.com/office/drawing/2014/main" id="{D0317947-92BB-4EBE-9951-A194C1DAC5FD}"/>
                </a:ext>
              </a:extLst>
            </p:cNvPr>
            <p:cNvSpPr>
              <a:spLocks noChangeAspect="1" noEditPoints="1"/>
            </p:cNvSpPr>
            <p:nvPr/>
          </p:nvSpPr>
          <p:spPr bwMode="auto">
            <a:xfrm>
              <a:off x="5913312" y="1216221"/>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72011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cenario1">
            <a:hlinkClick r:id="" action="ppaction://media"/>
            <a:extLst>
              <a:ext uri="{FF2B5EF4-FFF2-40B4-BE49-F238E27FC236}">
                <a16:creationId xmlns:a16="http://schemas.microsoft.com/office/drawing/2014/main" id="{07D990F4-5174-4DF3-AB5D-535AAC6B882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C4162410-437B-4BB1-AA36-A31463187B16}"/>
              </a:ext>
            </a:extLst>
          </p:cNvPr>
          <p:cNvGrpSpPr/>
          <p:nvPr/>
        </p:nvGrpSpPr>
        <p:grpSpPr>
          <a:xfrm>
            <a:off x="9213836" y="5955550"/>
            <a:ext cx="2978164" cy="596705"/>
            <a:chOff x="9194786" y="5955550"/>
            <a:chExt cx="2978164" cy="596705"/>
          </a:xfrm>
        </p:grpSpPr>
        <p:sp>
          <p:nvSpPr>
            <p:cNvPr id="8" name="Rectangle 7">
              <a:extLst>
                <a:ext uri="{FF2B5EF4-FFF2-40B4-BE49-F238E27FC236}">
                  <a16:creationId xmlns:a16="http://schemas.microsoft.com/office/drawing/2014/main" id="{010EE9C3-8915-423A-AFB9-D2D6C5F28E41}"/>
                </a:ext>
              </a:extLst>
            </p:cNvPr>
            <p:cNvSpPr/>
            <p:nvPr/>
          </p:nvSpPr>
          <p:spPr bwMode="auto">
            <a:xfrm>
              <a:off x="9194786" y="5992587"/>
              <a:ext cx="2978164" cy="5596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935B951E-359A-4A77-BB57-CE64002DA582}"/>
                </a:ext>
              </a:extLst>
            </p:cNvPr>
            <p:cNvSpPr txBox="1">
              <a:spLocks/>
            </p:cNvSpPr>
            <p:nvPr/>
          </p:nvSpPr>
          <p:spPr>
            <a:xfrm>
              <a:off x="9303427" y="5955550"/>
              <a:ext cx="2657197" cy="525101"/>
            </a:xfrm>
            <a:prstGeom prst="rect">
              <a:avLst/>
            </a:prstGeom>
          </p:spPr>
          <p:txBody>
            <a:bodyPr vert="horz" wrap="square" lIns="0" tIns="164592"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50E6FF"/>
                  </a:solidFill>
                  <a:effectLst/>
                  <a:uLnTx/>
                  <a:uFillTx/>
                  <a:latin typeface="Segoe UI Semibold"/>
                  <a:ea typeface="+mn-ea"/>
                  <a:cs typeface="Segoe UI" pitchFamily="34" charset="0"/>
                </a:rPr>
                <a:t>Secure Access Workstation</a:t>
              </a:r>
            </a:p>
          </p:txBody>
        </p:sp>
      </p:grpSp>
    </p:spTree>
    <p:extLst>
      <p:ext uri="{BB962C8B-B14F-4D97-AF65-F5344CB8AC3E}">
        <p14:creationId xmlns:p14="http://schemas.microsoft.com/office/powerpoint/2010/main" val="123341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 presetClass="mediacall" presetSubtype="0" fill="hold" nodeType="afterEffect">
                                  <p:stCondLst>
                                    <p:cond delay="0"/>
                                  </p:stCondLst>
                                  <p:childTnLst>
                                    <p:cmd type="call" cmd="playFrom(0.0)">
                                      <p:cBhvr>
                                        <p:cTn id="10" dur="3257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cenario3">
            <a:hlinkClick r:id="" action="ppaction://media"/>
            <a:extLst>
              <a:ext uri="{FF2B5EF4-FFF2-40B4-BE49-F238E27FC236}">
                <a16:creationId xmlns:a16="http://schemas.microsoft.com/office/drawing/2014/main" id="{7659BB33-A209-4AA7-A641-98CF1591BFE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17C1C48F-06EA-44C3-BBF7-553217538295}"/>
              </a:ext>
            </a:extLst>
          </p:cNvPr>
          <p:cNvGrpSpPr/>
          <p:nvPr/>
        </p:nvGrpSpPr>
        <p:grpSpPr>
          <a:xfrm>
            <a:off x="9993459" y="5758006"/>
            <a:ext cx="2197356" cy="596705"/>
            <a:chOff x="9993459" y="5758006"/>
            <a:chExt cx="2197356" cy="596705"/>
          </a:xfrm>
        </p:grpSpPr>
        <p:sp>
          <p:nvSpPr>
            <p:cNvPr id="4" name="Rectangle 3">
              <a:extLst>
                <a:ext uri="{FF2B5EF4-FFF2-40B4-BE49-F238E27FC236}">
                  <a16:creationId xmlns:a16="http://schemas.microsoft.com/office/drawing/2014/main" id="{FAB502E3-5455-46A7-AB03-8419216D2E0C}"/>
                </a:ext>
              </a:extLst>
            </p:cNvPr>
            <p:cNvSpPr/>
            <p:nvPr/>
          </p:nvSpPr>
          <p:spPr bwMode="auto">
            <a:xfrm>
              <a:off x="9993459" y="5795043"/>
              <a:ext cx="2197356" cy="5596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781CEEE3-5A02-45C8-B759-FEC677894703}"/>
                </a:ext>
              </a:extLst>
            </p:cNvPr>
            <p:cNvSpPr txBox="1">
              <a:spLocks/>
            </p:cNvSpPr>
            <p:nvPr/>
          </p:nvSpPr>
          <p:spPr>
            <a:xfrm>
              <a:off x="10100874" y="5758006"/>
              <a:ext cx="1999087" cy="525101"/>
            </a:xfrm>
            <a:prstGeom prst="rect">
              <a:avLst/>
            </a:prstGeom>
          </p:spPr>
          <p:txBody>
            <a:bodyPr vert="horz" wrap="square" lIns="0" tIns="164592"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Global Developers</a:t>
              </a:r>
            </a:p>
          </p:txBody>
        </p:sp>
      </p:grpSp>
    </p:spTree>
    <p:extLst>
      <p:ext uri="{BB962C8B-B14F-4D97-AF65-F5344CB8AC3E}">
        <p14:creationId xmlns:p14="http://schemas.microsoft.com/office/powerpoint/2010/main" val="3109730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9749" fill="hold"/>
                                        <p:tgtEl>
                                          <p:spTgt spid="6"/>
                                        </p:tgtEl>
                                      </p:cBhvr>
                                    </p:cmd>
                                  </p:childTnLst>
                                </p:cTn>
                              </p:par>
                              <p:par>
                                <p:cTn id="7" presetID="10"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6"/>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ke_scenario V2">
            <a:hlinkClick r:id="" action="ppaction://media"/>
            <a:extLst>
              <a:ext uri="{FF2B5EF4-FFF2-40B4-BE49-F238E27FC236}">
                <a16:creationId xmlns:a16="http://schemas.microsoft.com/office/drawing/2014/main" id="{379E3B4A-17A0-45C3-A512-07E76A10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3" name="Title 4">
            <a:extLst>
              <a:ext uri="{FF2B5EF4-FFF2-40B4-BE49-F238E27FC236}">
                <a16:creationId xmlns:a16="http://schemas.microsoft.com/office/drawing/2014/main" id="{EE8329CC-C8FD-4769-8488-D854DBAA88B5}"/>
              </a:ext>
            </a:extLst>
          </p:cNvPr>
          <p:cNvSpPr>
            <a:spLocks noGrp="1"/>
          </p:cNvSpPr>
          <p:nvPr>
            <p:ph type="title"/>
          </p:nvPr>
        </p:nvSpPr>
        <p:spPr>
          <a:xfrm>
            <a:off x="426424" y="440495"/>
            <a:ext cx="11336039" cy="758022"/>
          </a:xfrm>
        </p:spPr>
        <p:txBody>
          <a:bodyPr/>
          <a:lstStyle/>
          <a:p>
            <a:r>
              <a:rPr lang="en-US">
                <a:solidFill>
                  <a:schemeClr val="bg1"/>
                </a:solidFill>
              </a:rPr>
              <a:t>Firstline Workers</a:t>
            </a:r>
            <a:endParaRPr lang="en-US">
              <a:solidFill>
                <a:srgbClr val="50E6FF"/>
              </a:solidFill>
            </a:endParaRPr>
          </a:p>
        </p:txBody>
      </p:sp>
      <p:sp>
        <p:nvSpPr>
          <p:cNvPr id="4" name="Title 1">
            <a:extLst>
              <a:ext uri="{FF2B5EF4-FFF2-40B4-BE49-F238E27FC236}">
                <a16:creationId xmlns:a16="http://schemas.microsoft.com/office/drawing/2014/main" id="{4EFDE48F-E042-43E3-8D05-B81A7B6B329F}"/>
              </a:ext>
            </a:extLst>
          </p:cNvPr>
          <p:cNvSpPr txBox="1">
            <a:spLocks/>
          </p:cNvSpPr>
          <p:nvPr/>
        </p:nvSpPr>
        <p:spPr>
          <a:xfrm>
            <a:off x="10100874" y="5758006"/>
            <a:ext cx="1999087" cy="525101"/>
          </a:xfrm>
          <a:prstGeom prst="rect">
            <a:avLst/>
          </a:prstGeom>
        </p:spPr>
        <p:txBody>
          <a:bodyPr vert="horz" wrap="square" lIns="0" tIns="164592"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Firstline Workers</a:t>
            </a:r>
          </a:p>
        </p:txBody>
      </p:sp>
      <p:grpSp>
        <p:nvGrpSpPr>
          <p:cNvPr id="5" name="Group 4">
            <a:extLst>
              <a:ext uri="{FF2B5EF4-FFF2-40B4-BE49-F238E27FC236}">
                <a16:creationId xmlns:a16="http://schemas.microsoft.com/office/drawing/2014/main" id="{B6782970-470F-446B-9976-B47E7AC73864}"/>
              </a:ext>
            </a:extLst>
          </p:cNvPr>
          <p:cNvGrpSpPr/>
          <p:nvPr/>
        </p:nvGrpSpPr>
        <p:grpSpPr>
          <a:xfrm>
            <a:off x="9993459" y="5758006"/>
            <a:ext cx="2197356" cy="596705"/>
            <a:chOff x="9993459" y="5758006"/>
            <a:chExt cx="2197356" cy="596705"/>
          </a:xfrm>
        </p:grpSpPr>
        <p:sp>
          <p:nvSpPr>
            <p:cNvPr id="6" name="Rectangle 5">
              <a:extLst>
                <a:ext uri="{FF2B5EF4-FFF2-40B4-BE49-F238E27FC236}">
                  <a16:creationId xmlns:a16="http://schemas.microsoft.com/office/drawing/2014/main" id="{44150BEF-E159-4743-96AC-7CB51C3B27FD}"/>
                </a:ext>
              </a:extLst>
            </p:cNvPr>
            <p:cNvSpPr/>
            <p:nvPr/>
          </p:nvSpPr>
          <p:spPr bwMode="auto">
            <a:xfrm>
              <a:off x="9993459" y="5795043"/>
              <a:ext cx="2197356" cy="5596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a:extLst>
                <a:ext uri="{FF2B5EF4-FFF2-40B4-BE49-F238E27FC236}">
                  <a16:creationId xmlns:a16="http://schemas.microsoft.com/office/drawing/2014/main" id="{B7E17EB5-6564-4802-A58D-4CA74FF60602}"/>
                </a:ext>
              </a:extLst>
            </p:cNvPr>
            <p:cNvSpPr txBox="1">
              <a:spLocks/>
            </p:cNvSpPr>
            <p:nvPr/>
          </p:nvSpPr>
          <p:spPr>
            <a:xfrm>
              <a:off x="10100874" y="5758006"/>
              <a:ext cx="1999087" cy="525101"/>
            </a:xfrm>
            <a:prstGeom prst="rect">
              <a:avLst/>
            </a:prstGeom>
          </p:spPr>
          <p:txBody>
            <a:bodyPr vert="horz" wrap="square" lIns="0" tIns="164592" rIns="0" bIns="0" rtlCol="0" anchor="t">
              <a:noAutofit/>
            </a:bodyPr>
            <a:lstStyle>
              <a:lvl1pPr algn="l" defTabSz="932742" rtl="0" eaLnBrk="1" latinLnBrk="0" hangingPunct="1">
                <a:lnSpc>
                  <a:spcPct val="100000"/>
                </a:lnSpc>
                <a:spcBef>
                  <a:spcPct val="0"/>
                </a:spcBef>
                <a:buNone/>
                <a:defRPr lang="en-US" sz="3600" b="0" kern="1200" cap="none" spc="-50" baseline="0">
                  <a:ln w="3175">
                    <a:noFill/>
                  </a:ln>
                  <a:solidFill>
                    <a:srgbClr val="000000"/>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Firstline Workers</a:t>
              </a:r>
            </a:p>
          </p:txBody>
        </p:sp>
      </p:grpSp>
    </p:spTree>
    <p:extLst>
      <p:ext uri="{BB962C8B-B14F-4D97-AF65-F5344CB8AC3E}">
        <p14:creationId xmlns:p14="http://schemas.microsoft.com/office/powerpoint/2010/main" val="697226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667" fill="hold"/>
                                        <p:tgtEl>
                                          <p:spTgt spid="2"/>
                                        </p:tgtEl>
                                      </p:cBhvr>
                                    </p:cmd>
                                  </p:childTnLst>
                                </p:cTn>
                              </p:par>
                              <p:par>
                                <p:cTn id="7" presetID="10"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repeatCount="indefinite" fill="hold" display="0">
                  <p:stCondLst>
                    <p:cond delay="indefinite"/>
                  </p:stCondLst>
                </p:cTn>
                <p:tgtEl>
                  <p:spTgt spid="2"/>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426423" y="2389661"/>
            <a:ext cx="6650879" cy="21441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225" rtl="0" eaLnBrk="0" fontAlgn="base" latinLnBrk="0" hangingPunct="0">
              <a:lnSpc>
                <a:spcPct val="110000"/>
              </a:lnSpc>
              <a:spcBef>
                <a:spcPts val="800"/>
              </a:spcBef>
              <a:spcAft>
                <a:spcPts val="0"/>
              </a:spcAft>
              <a:buClrTx/>
              <a:buSzTx/>
              <a:buFontTx/>
              <a:buNone/>
              <a:tabLst/>
              <a:defRPr/>
            </a:pPr>
            <a:r>
              <a:rPr kumimoji="0" lang="en-US" altLang="en-US" sz="1800" b="0" i="0" u="none" strike="noStrike" kern="1200" cap="none" spc="0" normalizeH="0" baseline="0" noProof="0">
                <a:ln>
                  <a:noFill/>
                </a:ln>
                <a:solidFill>
                  <a:srgbClr val="50E6FF"/>
                </a:solidFill>
                <a:effectLst/>
                <a:uLnTx/>
                <a:uFillTx/>
                <a:latin typeface="Segoe UI Semibold"/>
                <a:ea typeface="+mn-ea"/>
                <a:cs typeface="+mn-cs"/>
              </a:rPr>
              <a:t>Client</a:t>
            </a:r>
          </a:p>
          <a:p>
            <a:pPr marL="0" marR="0" lvl="0" indent="0" algn="l" defTabSz="914225" rtl="0" eaLnBrk="0" fontAlgn="base" latinLnBrk="0" hangingPunct="0">
              <a:lnSpc>
                <a:spcPct val="110000"/>
              </a:lnSpc>
              <a:spcBef>
                <a:spcPts val="800"/>
              </a:spcBef>
              <a:spcAft>
                <a:spcPts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UI"/>
                <a:ea typeface="+mn-ea"/>
                <a:cs typeface="+mn-cs"/>
              </a:rPr>
              <a:t>Customers are eligible to access Windows 10 single and </a:t>
            </a:r>
            <a:br>
              <a:rPr kumimoji="0" lang="en-US" altLang="en-US" sz="1800" b="0" i="0" u="none" strike="noStrike" kern="1200" cap="none" spc="0" normalizeH="0" baseline="0" noProof="0">
                <a:ln>
                  <a:noFill/>
                </a:ln>
                <a:solidFill>
                  <a:srgbClr val="FFFFFF"/>
                </a:solidFill>
                <a:effectLst/>
                <a:uLnTx/>
                <a:uFillTx/>
                <a:latin typeface="Segoe UI"/>
                <a:ea typeface="+mn-ea"/>
                <a:cs typeface="+mn-cs"/>
              </a:rPr>
            </a:br>
            <a:r>
              <a:rPr kumimoji="0" lang="en-US" altLang="en-US" sz="1800" b="0" i="0" u="none" strike="noStrike" kern="1200" cap="none" spc="0" normalizeH="0" baseline="0" noProof="0">
                <a:ln>
                  <a:noFill/>
                </a:ln>
                <a:solidFill>
                  <a:srgbClr val="FFFFFF"/>
                </a:solidFill>
                <a:effectLst/>
                <a:uLnTx/>
                <a:uFillTx/>
                <a:latin typeface="Segoe UI"/>
                <a:ea typeface="+mn-ea"/>
                <a:cs typeface="+mn-cs"/>
              </a:rPr>
              <a:t>multi-session and Windows 7 with Windows Virtual Desktop </a:t>
            </a:r>
            <a:br>
              <a:rPr kumimoji="0" lang="en-US" altLang="en-US" sz="1800" b="0" i="0" u="none" strike="noStrike" kern="1200" cap="none" spc="0" normalizeH="0" baseline="0" noProof="0">
                <a:ln>
                  <a:noFill/>
                </a:ln>
                <a:solidFill>
                  <a:srgbClr val="FFFFFF"/>
                </a:solidFill>
                <a:effectLst/>
                <a:uLnTx/>
                <a:uFillTx/>
                <a:latin typeface="Segoe UI"/>
                <a:ea typeface="+mn-ea"/>
                <a:cs typeface="+mn-cs"/>
              </a:rPr>
            </a:br>
            <a:r>
              <a:rPr kumimoji="0" lang="en-US" altLang="en-US" sz="1800" b="0" i="0" u="none" strike="noStrike" kern="1200" cap="none" spc="0" normalizeH="0" baseline="0" noProof="0">
                <a:ln>
                  <a:noFill/>
                </a:ln>
                <a:solidFill>
                  <a:srgbClr val="FFFFFF"/>
                </a:solidFill>
                <a:effectLst/>
                <a:uLnTx/>
                <a:uFillTx/>
                <a:latin typeface="Segoe UI"/>
                <a:ea typeface="+mn-ea"/>
                <a:cs typeface="+mn-cs"/>
              </a:rPr>
              <a:t>if they have one of the following licenses:*</a:t>
            </a:r>
            <a:endParaRPr kumimoji="0" lang="en-US" altLang="en-US" sz="1800" b="0" i="0" u="none" strike="noStrike" kern="1200" cap="none" spc="0" normalizeH="0" baseline="0" noProof="0">
              <a:ln>
                <a:noFill/>
              </a:ln>
              <a:solidFill>
                <a:srgbClr val="FFFFFF"/>
              </a:solidFill>
              <a:effectLst/>
              <a:uLnTx/>
              <a:uFillTx/>
              <a:latin typeface="Segoe UI"/>
              <a:ea typeface="+mn-ea"/>
              <a:cs typeface="Segoe UI"/>
            </a:endParaRPr>
          </a:p>
          <a:p>
            <a:pPr marL="182845" marR="0" lvl="1" indent="-182845" algn="l" defTabSz="914225" rtl="0" eaLnBrk="0" fontAlgn="base" latinLnBrk="0" hangingPunct="0">
              <a:lnSpc>
                <a:spcPct val="110000"/>
              </a:lnSpc>
              <a:spcBef>
                <a:spcPts val="800"/>
              </a:spcBef>
              <a:spcAft>
                <a:spcPts val="0"/>
              </a:spcAft>
              <a:buClrTx/>
              <a:buSzTx/>
              <a:buFont typeface="Arial" panose="020B0604020202020204" pitchFamily="34" charset="0"/>
              <a:buChar char="•"/>
              <a:tabLst/>
              <a:defRPr/>
            </a:pPr>
            <a:endParaRPr kumimoji="0" lang="en-US" altLang="en-US" sz="18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p:txBody>
          <a:bodyPr/>
          <a:lstStyle/>
          <a:p>
            <a:pPr>
              <a:spcBef>
                <a:spcPts val="0"/>
              </a:spcBef>
            </a:pPr>
            <a:r>
              <a:rPr lang="en-US">
                <a:solidFill>
                  <a:schemeClr val="bg1"/>
                </a:solidFill>
              </a:rPr>
              <a:t>Many customers are already eligible for </a:t>
            </a:r>
            <a:br>
              <a:rPr lang="en-US">
                <a:solidFill>
                  <a:schemeClr val="bg1"/>
                </a:solidFill>
              </a:rPr>
            </a:br>
            <a:r>
              <a:rPr lang="en-US">
                <a:solidFill>
                  <a:srgbClr val="50E6FF"/>
                </a:solidFill>
              </a:rPr>
              <a:t>Windows Virtual Desktop</a:t>
            </a:r>
            <a:br>
              <a:rPr lang="en-US" sz="3200">
                <a:solidFill>
                  <a:schemeClr val="bg1"/>
                </a:solidFill>
              </a:rPr>
            </a:br>
            <a:br>
              <a:rPr lang="en-US" sz="800">
                <a:solidFill>
                  <a:schemeClr val="bg1"/>
                </a:solidFill>
              </a:rPr>
            </a:br>
            <a:r>
              <a:rPr lang="en-US" sz="1800" spc="0">
                <a:solidFill>
                  <a:schemeClr val="bg1"/>
                </a:solidFill>
                <a:latin typeface="+mn-lt"/>
              </a:rPr>
              <a:t>Windows Virtual Desktop Licensing Requirements</a:t>
            </a:r>
            <a:endParaRPr lang="en-US" spc="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8012728" y="2389661"/>
            <a:ext cx="3840480" cy="271869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225" rtl="0" eaLnBrk="0" fontAlgn="base" latinLnBrk="0" hangingPunct="0">
              <a:lnSpc>
                <a:spcPct val="110000"/>
              </a:lnSpc>
              <a:spcBef>
                <a:spcPts val="800"/>
              </a:spcBef>
              <a:spcAft>
                <a:spcPts val="0"/>
              </a:spcAft>
              <a:buClrTx/>
              <a:buSzTx/>
              <a:buFontTx/>
              <a:buNone/>
              <a:tabLst/>
              <a:defRPr/>
            </a:pPr>
            <a:r>
              <a:rPr kumimoji="0" lang="en-US" altLang="en-US" sz="1800" b="0" i="0" u="none" strike="noStrike" kern="1200" cap="none" spc="0" normalizeH="0" baseline="0" noProof="0">
                <a:ln>
                  <a:noFill/>
                </a:ln>
                <a:solidFill>
                  <a:srgbClr val="50E6FF"/>
                </a:solidFill>
                <a:effectLst/>
                <a:uLnTx/>
                <a:uFillTx/>
                <a:latin typeface="Segoe UI Semibold"/>
                <a:ea typeface="+mn-ea"/>
                <a:cs typeface="+mn-cs"/>
              </a:rPr>
              <a:t>Server</a:t>
            </a:r>
          </a:p>
          <a:p>
            <a:pPr marL="0" marR="0" lvl="0" indent="0" algn="l" defTabSz="914225" rtl="0" eaLnBrk="0" fontAlgn="base" latinLnBrk="0" hangingPunct="0">
              <a:lnSpc>
                <a:spcPct val="110000"/>
              </a:lnSpc>
              <a:spcBef>
                <a:spcPts val="800"/>
              </a:spcBef>
              <a:spcAft>
                <a:spcPts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UI"/>
                <a:ea typeface="+mn-ea"/>
                <a:cs typeface="+mn-cs"/>
              </a:rPr>
              <a:t>Customers are eligible to access server workloads with Windows Virtual Desktop if they have one of the following licenses:</a:t>
            </a:r>
          </a:p>
          <a:p>
            <a:pPr marL="182845" marR="0" lvl="1" indent="-182845" algn="l" defTabSz="914225" rtl="0" eaLnBrk="0" fontAlgn="base" latinLnBrk="0" hangingPunct="0">
              <a:lnSpc>
                <a:spcPct val="11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RDS CAL license with active Software Assurance</a:t>
            </a:r>
            <a:r>
              <a:rPr kumimoji="0" lang="en-US" altLang="en-US" sz="1000" b="0" i="1" u="none" strike="noStrike" kern="1200" cap="none" spc="0" normalizeH="0" baseline="0" noProof="0">
                <a:ln>
                  <a:noFill/>
                </a:ln>
                <a:solidFill>
                  <a:srgbClr val="FFFFFF"/>
                </a:solidFill>
                <a:effectLst/>
                <a:uLnTx/>
                <a:uFillTx/>
                <a:latin typeface="Segoe UI"/>
                <a:ea typeface="+mn-ea"/>
                <a:cs typeface="+mn-cs"/>
              </a:rPr>
              <a:t>.</a:t>
            </a:r>
            <a:endParaRPr kumimoji="0" lang="en-US" altLang="en-US" sz="1000" b="0" i="1" u="none" strike="noStrike" kern="1200" cap="none" spc="0" normalizeH="0" baseline="0" noProof="0">
              <a:ln>
                <a:noFill/>
              </a:ln>
              <a:solidFill>
                <a:srgbClr val="FFFFFF"/>
              </a:solidFill>
              <a:effectLst/>
              <a:uLnTx/>
              <a:uFillTx/>
              <a:latin typeface="Segoe UI"/>
              <a:ea typeface="+mn-ea"/>
              <a:cs typeface="Segoe UI"/>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8012728" y="5154771"/>
            <a:ext cx="3840480" cy="1184940"/>
          </a:xfrm>
          <a:prstGeom prst="rect">
            <a:avLst/>
          </a:prstGeom>
          <a:noFill/>
          <a:ln w="10795" cap="flat" cmpd="sng" algn="ctr">
            <a:noFill/>
            <a:prstDash val="solid"/>
          </a:ln>
          <a:effectLst/>
        </p:spPr>
        <p:txBody>
          <a:bodyPr spcFirstLastPara="0" vert="horz" wrap="square" lIns="0" tIns="0" rIns="0" bIns="0" numCol="1" spcCol="1270" anchor="ctr" anchorCtr="0">
            <a:noAutofit/>
          </a:bodyPr>
          <a:lstStyle/>
          <a:p>
            <a:pPr marL="0" marR="0" lvl="0" indent="0" algn="l" defTabSz="1219613" rtl="0" eaLnBrk="1" fontAlgn="auto" latinLnBrk="0" hangingPunct="1">
              <a:lnSpc>
                <a:spcPct val="110000"/>
              </a:lnSpc>
              <a:spcBef>
                <a:spcPct val="0"/>
              </a:spcBef>
              <a:spcAft>
                <a:spcPts val="588"/>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ustomers pay for the virtual machines, storage, and networking consumed when the users are using the service.</a:t>
            </a:r>
          </a:p>
          <a:p>
            <a:pPr marL="0" marR="0" lvl="0" indent="0" algn="l" defTabSz="913927" rtl="0" eaLnBrk="1" fontAlgn="base"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A389C78-41F9-4EA9-85D5-A8FD7D1FD0B1}"/>
              </a:ext>
            </a:extLst>
          </p:cNvPr>
          <p:cNvSpPr/>
          <p:nvPr/>
        </p:nvSpPr>
        <p:spPr>
          <a:xfrm>
            <a:off x="149878" y="6481653"/>
            <a:ext cx="11612585" cy="246221"/>
          </a:xfrm>
          <a:prstGeom prst="rect">
            <a:avLst/>
          </a:prstGeom>
        </p:spPr>
        <p:txBody>
          <a:bodyPr wrap="square" anchor="t">
            <a:spAutoFit/>
          </a:bodyPr>
          <a:lstStyle/>
          <a:p>
            <a:pPr marL="0" marR="0" lvl="1" indent="0" algn="l" defTabSz="914225" rtl="0" eaLnBrk="0" fontAlgn="base" latinLnBrk="0" hangingPunct="0">
              <a:lnSpc>
                <a:spcPct val="100000"/>
              </a:lnSpc>
              <a:spcBef>
                <a:spcPts val="800"/>
              </a:spcBef>
              <a:spcAft>
                <a:spcPts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Segoe UI"/>
                <a:ea typeface="+mn-ea"/>
                <a:cs typeface="+mn-cs"/>
              </a:rPr>
              <a:t>* Customers can access Windows Virtual Desktop from their non-Windows Pro endpoints if they have a Microsoft 365 E3/E5/F1, Microsoft 365 A3/A5, or Windows 10 VDA per user license.</a:t>
            </a:r>
          </a:p>
        </p:txBody>
      </p:sp>
      <p:sp>
        <p:nvSpPr>
          <p:cNvPr id="6" name="Rectangle 5">
            <a:extLst>
              <a:ext uri="{FF2B5EF4-FFF2-40B4-BE49-F238E27FC236}">
                <a16:creationId xmlns:a16="http://schemas.microsoft.com/office/drawing/2014/main" id="{9B1CC2C4-570C-424A-B99A-1FC7A0220C90}"/>
              </a:ext>
            </a:extLst>
          </p:cNvPr>
          <p:cNvSpPr/>
          <p:nvPr/>
        </p:nvSpPr>
        <p:spPr>
          <a:xfrm>
            <a:off x="426424" y="4216877"/>
            <a:ext cx="3290646" cy="1668965"/>
          </a:xfrm>
          <a:prstGeom prst="rect">
            <a:avLst/>
          </a:prstGeom>
        </p:spPr>
        <p:txBody>
          <a:bodyPr wrap="square" numCol="1">
            <a:noAutofit/>
          </a:bodyPr>
          <a:lstStyle/>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Microsoft 365 E3/E5</a:t>
            </a:r>
            <a:endParaRPr kumimoji="0" lang="en-US" altLang="en-US" sz="1800" b="0" i="0" u="none" strike="noStrike" kern="1200" cap="none" spc="0" normalizeH="0" baseline="0" noProof="0">
              <a:ln>
                <a:noFill/>
              </a:ln>
              <a:solidFill>
                <a:srgbClr val="FFFFFF"/>
              </a:solidFill>
              <a:effectLst/>
              <a:uLnTx/>
              <a:uFillTx/>
              <a:latin typeface="Segoe UI Semibold"/>
              <a:ea typeface="+mn-ea"/>
              <a:cs typeface="Segoe UI Semibold"/>
            </a:endParaRPr>
          </a:p>
          <a:p>
            <a:pPr marL="182845" marR="0" lvl="1" indent="-182845" algn="l" defTabSz="91422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Microsoft 365 A3/A5/Student Use Benefit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Microsoft 365 F1</a:t>
            </a:r>
            <a:endParaRPr kumimoji="0" lang="en-US" altLang="en-US" sz="1800" b="0" i="0" u="none" strike="noStrike" kern="1200" cap="none" spc="0" normalizeH="0" baseline="0" noProof="0">
              <a:ln>
                <a:noFill/>
              </a:ln>
              <a:solidFill>
                <a:srgbClr val="FFFFFF"/>
              </a:solidFill>
              <a:effectLst/>
              <a:uLnTx/>
              <a:uFillTx/>
              <a:latin typeface="Segoe UI Semibold"/>
              <a:ea typeface="+mn-ea"/>
              <a:cs typeface="Segoe UI Semibold"/>
            </a:endParaRPr>
          </a:p>
        </p:txBody>
      </p:sp>
      <p:cxnSp>
        <p:nvCxnSpPr>
          <p:cNvPr id="10" name="Straight Connector 9">
            <a:extLst>
              <a:ext uri="{FF2B5EF4-FFF2-40B4-BE49-F238E27FC236}">
                <a16:creationId xmlns:a16="http://schemas.microsoft.com/office/drawing/2014/main" id="{EB7CD1CF-8AF4-4A4A-B14E-714CFEBFA733}"/>
              </a:ext>
            </a:extLst>
          </p:cNvPr>
          <p:cNvCxnSpPr/>
          <p:nvPr/>
        </p:nvCxnSpPr>
        <p:spPr>
          <a:xfrm>
            <a:off x="7558440" y="2447717"/>
            <a:ext cx="0" cy="3706339"/>
          </a:xfrm>
          <a:prstGeom prst="line">
            <a:avLst/>
          </a:prstGeom>
          <a:ln w="28575">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4" name="Rectangle 3">
            <a:extLst>
              <a:ext uri="{FF2B5EF4-FFF2-40B4-BE49-F238E27FC236}">
                <a16:creationId xmlns:a16="http://schemas.microsoft.com/office/drawing/2014/main" id="{71B81075-A019-4605-92B7-F701C2CB828D}"/>
              </a:ext>
            </a:extLst>
          </p:cNvPr>
          <p:cNvSpPr/>
          <p:nvPr/>
        </p:nvSpPr>
        <p:spPr>
          <a:xfrm>
            <a:off x="3865756" y="4216877"/>
            <a:ext cx="3553517" cy="1508105"/>
          </a:xfrm>
          <a:prstGeom prst="rect">
            <a:avLst/>
          </a:prstGeom>
        </p:spPr>
        <p:txBody>
          <a:bodyPr wrap="square">
            <a:spAutoFit/>
          </a:bodyPr>
          <a:lstStyle/>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Microsoft 365 Business</a:t>
            </a:r>
          </a:p>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Windows 10 Enterprise E3/E5</a:t>
            </a:r>
            <a:endParaRPr kumimoji="0" lang="en-US" altLang="en-US" sz="1800" b="0" i="0" u="none" strike="noStrike" kern="1200" cap="none" spc="0" normalizeH="0" baseline="0" noProof="0">
              <a:ln>
                <a:noFill/>
              </a:ln>
              <a:solidFill>
                <a:srgbClr val="FFFFFF"/>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Windows 10 Education A3/A5</a:t>
            </a:r>
            <a:endParaRPr kumimoji="0" lang="en-US" altLang="en-US" sz="1800" b="0" i="0" u="none" strike="noStrike" kern="1200" cap="none" spc="0" normalizeH="0" baseline="0" noProof="0">
              <a:ln>
                <a:noFill/>
              </a:ln>
              <a:solidFill>
                <a:srgbClr val="FFFFFF"/>
              </a:solidFill>
              <a:effectLst/>
              <a:uLnTx/>
              <a:uFillTx/>
              <a:latin typeface="Segoe UI Semibold"/>
              <a:ea typeface="+mn-ea"/>
              <a:cs typeface="Segoe UI Semibold"/>
            </a:endParaRPr>
          </a:p>
          <a:p>
            <a:pPr marL="182845" marR="0" lvl="1" indent="-182845" algn="l" defTabSz="914225" rtl="0" eaLnBrk="0" fontAlgn="base" latinLnBrk="0" hangingPunct="0">
              <a:lnSpc>
                <a:spcPct val="100000"/>
              </a:lnSpc>
              <a:spcBef>
                <a:spcPts val="80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a:ln>
                  <a:noFill/>
                </a:ln>
                <a:solidFill>
                  <a:srgbClr val="FFFFFF"/>
                </a:solidFill>
                <a:effectLst/>
                <a:uLnTx/>
                <a:uFillTx/>
                <a:latin typeface="Segoe UI Semibold"/>
                <a:ea typeface="+mn-ea"/>
                <a:cs typeface="+mn-cs"/>
              </a:rPr>
              <a:t>Windows 10 VDA per user</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696095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5D342F-E711-49D2-BFBF-F2F8887C99F1}"/>
              </a:ext>
              <a:ext uri="{C183D7F6-B498-43B3-948B-1728B52AA6E4}">
                <adec:decorative xmlns:adec="http://schemas.microsoft.com/office/drawing/2017/decorative" val="1"/>
              </a:ext>
            </a:extLst>
          </p:cNvPr>
          <p:cNvSpPr/>
          <p:nvPr/>
        </p:nvSpPr>
        <p:spPr bwMode="auto">
          <a:xfrm>
            <a:off x="0" y="1379245"/>
            <a:ext cx="12192000" cy="5478755"/>
          </a:xfrm>
          <a:prstGeom prst="rect">
            <a:avLst/>
          </a:prstGeom>
          <a:solidFill>
            <a:schemeClr val="bg2"/>
          </a:solidFill>
          <a:ln>
            <a:noFill/>
            <a:headEnd type="none" w="med" len="med"/>
            <a:tailEnd type="none" w="med" len="med"/>
          </a:ln>
          <a:effectLst>
            <a:outerShdw blurRad="190500" dist="50800" dir="27000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accent1"/>
                </a:solidFill>
              </a:rPr>
              <a:t>Windows Virtual Desktop </a:t>
            </a:r>
            <a:r>
              <a:rPr lang="en-US" dirty="0">
                <a:solidFill>
                  <a:schemeClr val="tx1"/>
                </a:solidFill>
              </a:rPr>
              <a:t>T</a:t>
            </a:r>
            <a:r>
              <a:rPr lang="en-US" dirty="0"/>
              <a:t>echnical Fundamentals </a:t>
            </a:r>
          </a:p>
        </p:txBody>
      </p:sp>
      <p:sp>
        <p:nvSpPr>
          <p:cNvPr id="9" name="TextBox 8">
            <a:extLst>
              <a:ext uri="{FF2B5EF4-FFF2-40B4-BE49-F238E27FC236}">
                <a16:creationId xmlns:a16="http://schemas.microsoft.com/office/drawing/2014/main" id="{B8316BAE-98BB-45B0-91C9-DAC7A82FD94B}"/>
              </a:ext>
            </a:extLst>
          </p:cNvPr>
          <p:cNvSpPr txBox="1"/>
          <p:nvPr/>
        </p:nvSpPr>
        <p:spPr>
          <a:xfrm>
            <a:off x="426424" y="1644892"/>
            <a:ext cx="1301638" cy="221599"/>
          </a:xfrm>
          <a:prstGeom prst="rect">
            <a:avLst/>
          </a:prstGeom>
          <a:noFill/>
        </p:spPr>
        <p:txBody>
          <a:bodyPr wrap="none" lIns="0" tIns="0" rIns="0" bIns="0" rtlCol="0">
            <a:spAutoFit/>
          </a:bodyPr>
          <a:lstStyle/>
          <a:p>
            <a:pPr marL="0" marR="0" lvl="0" indent="0" algn="l" defTabSz="913742"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a:ea typeface="+mn-ea"/>
                <a:cs typeface="Segoe UI Semilight" panose="020B0402040204020203" pitchFamily="34" charset="0"/>
              </a:rPr>
              <a:t>Agenda </a:t>
            </a:r>
            <a:r>
              <a:rPr lang="en-US" sz="1600" kern="0" dirty="0">
                <a:solidFill>
                  <a:srgbClr val="0078D7"/>
                </a:solidFill>
                <a:latin typeface="Segoe UI Semibold"/>
                <a:cs typeface="Segoe UI Semilight" panose="020B0402040204020203" pitchFamily="34" charset="0"/>
              </a:rPr>
              <a:t>d</a:t>
            </a:r>
            <a:r>
              <a:rPr kumimoji="0" lang="en-US" sz="1600" b="0" i="0" u="none" strike="noStrike" kern="0" cap="none" spc="0" normalizeH="0" baseline="0" noProof="0" dirty="0">
                <a:ln>
                  <a:noFill/>
                </a:ln>
                <a:solidFill>
                  <a:srgbClr val="0078D7"/>
                </a:solidFill>
                <a:effectLst/>
                <a:uLnTx/>
                <a:uFillTx/>
                <a:latin typeface="Segoe UI Semibold"/>
                <a:ea typeface="+mn-ea"/>
                <a:cs typeface="Segoe UI Semilight" panose="020B0402040204020203" pitchFamily="34" charset="0"/>
              </a:rPr>
              <a:t>ag 2</a:t>
            </a:r>
          </a:p>
        </p:txBody>
      </p:sp>
      <p:graphicFrame>
        <p:nvGraphicFramePr>
          <p:cNvPr id="10" name="Table 9">
            <a:extLst>
              <a:ext uri="{FF2B5EF4-FFF2-40B4-BE49-F238E27FC236}">
                <a16:creationId xmlns:a16="http://schemas.microsoft.com/office/drawing/2014/main" id="{BBC299A1-301D-4B69-A0F3-64C632FD3244}"/>
              </a:ext>
            </a:extLst>
          </p:cNvPr>
          <p:cNvGraphicFramePr>
            <a:graphicFrameLocks noGrp="1"/>
          </p:cNvGraphicFramePr>
          <p:nvPr>
            <p:extLst>
              <p:ext uri="{D42A27DB-BD31-4B8C-83A1-F6EECF244321}">
                <p14:modId xmlns:p14="http://schemas.microsoft.com/office/powerpoint/2010/main" val="1170181802"/>
              </p:ext>
            </p:extLst>
          </p:nvPr>
        </p:nvGraphicFramePr>
        <p:xfrm>
          <a:off x="426424" y="2242275"/>
          <a:ext cx="11125109" cy="4142249"/>
        </p:xfrm>
        <a:graphic>
          <a:graphicData uri="http://schemas.openxmlformats.org/drawingml/2006/table">
            <a:tbl>
              <a:tblPr firstRow="1" bandRow="1">
                <a:tableStyleId>{F5AB1C69-6EDB-4FF4-983F-18BD219EF322}</a:tableStyleId>
              </a:tblPr>
              <a:tblGrid>
                <a:gridCol w="1294426">
                  <a:extLst>
                    <a:ext uri="{9D8B030D-6E8A-4147-A177-3AD203B41FA5}">
                      <a16:colId xmlns:a16="http://schemas.microsoft.com/office/drawing/2014/main" val="4095939447"/>
                    </a:ext>
                  </a:extLst>
                </a:gridCol>
                <a:gridCol w="3742401">
                  <a:extLst>
                    <a:ext uri="{9D8B030D-6E8A-4147-A177-3AD203B41FA5}">
                      <a16:colId xmlns:a16="http://schemas.microsoft.com/office/drawing/2014/main" val="690451674"/>
                    </a:ext>
                  </a:extLst>
                </a:gridCol>
                <a:gridCol w="6088282">
                  <a:extLst>
                    <a:ext uri="{9D8B030D-6E8A-4147-A177-3AD203B41FA5}">
                      <a16:colId xmlns:a16="http://schemas.microsoft.com/office/drawing/2014/main" val="4217532766"/>
                    </a:ext>
                  </a:extLst>
                </a:gridCol>
              </a:tblGrid>
              <a:tr h="476862">
                <a:tc>
                  <a:txBody>
                    <a:bodyPr/>
                    <a:lstStyle/>
                    <a:p>
                      <a:r>
                        <a:rPr lang="en-US" sz="1400" b="0" dirty="0">
                          <a:solidFill>
                            <a:schemeClr val="accent1"/>
                          </a:solidFill>
                          <a:latin typeface="+mn-lt"/>
                          <a:cs typeface="Segoe UI Semilight" panose="020B0402040204020203" pitchFamily="34" charset="0"/>
                        </a:rPr>
                        <a:t>09:00 - 10:30</a:t>
                      </a:r>
                    </a:p>
                  </a:txBody>
                  <a:tcPr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0" dirty="0">
                          <a:solidFill>
                            <a:schemeClr val="tx2"/>
                          </a:solidFill>
                          <a:latin typeface="+mj-lt"/>
                          <a:cs typeface="Segoe UI Semilight" panose="020B0402040204020203" pitchFamily="34" charset="0"/>
                        </a:rPr>
                        <a:t>Windows Virtual Desktop Administration</a:t>
                      </a:r>
                      <a:endParaRPr lang="en-US" sz="1400" b="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i="0" kern="1200" dirty="0" err="1">
                          <a:solidFill>
                            <a:schemeClr val="tx1"/>
                          </a:solidFill>
                          <a:effectLst/>
                          <a:latin typeface="+mn-lt"/>
                          <a:ea typeface="+mn-ea"/>
                          <a:cs typeface="+mn-cs"/>
                        </a:rPr>
                        <a:t>Opfølgni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fr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ag</a:t>
                      </a:r>
                      <a:r>
                        <a:rPr lang="en-US" sz="1200" b="0" i="0" kern="1200" dirty="0">
                          <a:solidFill>
                            <a:schemeClr val="tx1"/>
                          </a:solidFill>
                          <a:effectLst/>
                          <a:latin typeface="+mn-lt"/>
                          <a:ea typeface="+mn-ea"/>
                          <a:cs typeface="+mn-cs"/>
                        </a:rPr>
                        <a:t> 1</a:t>
                      </a:r>
                    </a:p>
                    <a:p>
                      <a:r>
                        <a:rPr lang="en-US" sz="1200" b="0" i="0" kern="1200" dirty="0">
                          <a:solidFill>
                            <a:schemeClr val="tx1"/>
                          </a:solidFill>
                          <a:effectLst/>
                          <a:latin typeface="+mn-lt"/>
                          <a:ea typeface="+mn-ea"/>
                          <a:cs typeface="+mn-cs"/>
                        </a:rPr>
                        <a:t>Administration </a:t>
                      </a:r>
                      <a:r>
                        <a:rPr lang="en-US" sz="1200" b="0" i="0" kern="1200" dirty="0" err="1">
                          <a:solidFill>
                            <a:schemeClr val="tx1"/>
                          </a:solidFill>
                          <a:effectLst/>
                          <a:latin typeface="+mn-lt"/>
                          <a:ea typeface="+mn-ea"/>
                          <a:cs typeface="+mn-cs"/>
                        </a:rPr>
                        <a:t>af</a:t>
                      </a:r>
                      <a:r>
                        <a:rPr lang="en-US" sz="1200" b="0" i="0" kern="1200" dirty="0">
                          <a:solidFill>
                            <a:schemeClr val="tx1"/>
                          </a:solidFill>
                          <a:effectLst/>
                          <a:latin typeface="+mn-lt"/>
                          <a:ea typeface="+mn-ea"/>
                          <a:cs typeface="+mn-cs"/>
                        </a:rPr>
                        <a:t> "host pools"</a:t>
                      </a:r>
                    </a:p>
                    <a:p>
                      <a:r>
                        <a:rPr lang="en-US" sz="1200" b="0" i="0" kern="1200" dirty="0">
                          <a:solidFill>
                            <a:schemeClr val="tx1"/>
                          </a:solidFill>
                          <a:effectLst/>
                          <a:latin typeface="+mn-lt"/>
                          <a:ea typeface="+mn-ea"/>
                          <a:cs typeface="+mn-cs"/>
                        </a:rPr>
                        <a:t>Administration </a:t>
                      </a:r>
                      <a:r>
                        <a:rPr lang="en-US" sz="1200" b="0" i="0" kern="1200" dirty="0" err="1">
                          <a:solidFill>
                            <a:schemeClr val="tx1"/>
                          </a:solidFill>
                          <a:effectLst/>
                          <a:latin typeface="+mn-lt"/>
                          <a:ea typeface="+mn-ea"/>
                          <a:cs typeface="+mn-cs"/>
                        </a:rPr>
                        <a:t>af</a:t>
                      </a:r>
                      <a:r>
                        <a:rPr lang="en-US" sz="1200" b="0" i="0" kern="1200" dirty="0">
                          <a:solidFill>
                            <a:schemeClr val="tx1"/>
                          </a:solidFill>
                          <a:effectLst/>
                          <a:latin typeface="+mn-lt"/>
                          <a:ea typeface="+mn-ea"/>
                          <a:cs typeface="+mn-cs"/>
                        </a:rPr>
                        <a:t> "application groups"</a:t>
                      </a:r>
                    </a:p>
                    <a:p>
                      <a:r>
                        <a:rPr lang="en-US" sz="1200" b="0" i="0" kern="1200" dirty="0">
                          <a:solidFill>
                            <a:schemeClr val="tx1"/>
                          </a:solidFill>
                          <a:effectLst/>
                          <a:latin typeface="+mn-lt"/>
                          <a:ea typeface="+mn-ea"/>
                          <a:cs typeface="+mn-cs"/>
                        </a:rPr>
                        <a:t>Administration </a:t>
                      </a:r>
                      <a:r>
                        <a:rPr lang="en-US" sz="1200" b="0" i="0" kern="1200" dirty="0" err="1">
                          <a:solidFill>
                            <a:schemeClr val="tx1"/>
                          </a:solidFill>
                          <a:effectLst/>
                          <a:latin typeface="+mn-lt"/>
                          <a:ea typeface="+mn-ea"/>
                          <a:cs typeface="+mn-cs"/>
                        </a:rPr>
                        <a:t>af</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bruger-session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Notifikation</a:t>
                      </a:r>
                      <a:r>
                        <a:rPr lang="en-US" sz="1200" b="0" i="0" kern="1200" dirty="0">
                          <a:solidFill>
                            <a:schemeClr val="tx1"/>
                          </a:solidFill>
                          <a:effectLst/>
                          <a:latin typeface="+mn-lt"/>
                          <a:ea typeface="+mn-ea"/>
                          <a:cs typeface="+mn-cs"/>
                        </a:rPr>
                        <a:t>, session </a:t>
                      </a:r>
                      <a:r>
                        <a:rPr lang="en-US" sz="1200" b="0" i="0" kern="1200" dirty="0" err="1">
                          <a:solidFill>
                            <a:schemeClr val="tx1"/>
                          </a:solidFill>
                          <a:effectLst/>
                          <a:latin typeface="+mn-lt"/>
                          <a:ea typeface="+mn-ea"/>
                          <a:cs typeface="+mn-cs"/>
                        </a:rPr>
                        <a:t>levetid</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m.m.</a:t>
                      </a:r>
                      <a:r>
                        <a:rPr lang="en-US" sz="1200" b="0" i="0" kern="1200" dirty="0">
                          <a:solidFill>
                            <a:schemeClr val="tx1"/>
                          </a:solidFill>
                          <a:effectLst/>
                          <a:latin typeface="+mn-lt"/>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i="0" kern="1200" dirty="0" err="1">
                          <a:solidFill>
                            <a:schemeClr val="tx1"/>
                          </a:solidFill>
                          <a:effectLst/>
                          <a:latin typeface="+mn-lt"/>
                          <a:ea typeface="+mn-ea"/>
                          <a:cs typeface="+mn-cs"/>
                        </a:rPr>
                        <a:t>Automatiseri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kaleri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f</a:t>
                      </a:r>
                      <a:r>
                        <a:rPr lang="en-US" sz="1200" b="0" i="0" kern="1200" dirty="0">
                          <a:solidFill>
                            <a:schemeClr val="tx1"/>
                          </a:solidFill>
                          <a:effectLst/>
                          <a:latin typeface="+mn-lt"/>
                          <a:ea typeface="+mn-ea"/>
                          <a:cs typeface="+mn-cs"/>
                        </a:rPr>
                        <a:t> Windows Virtual Desktop.</a:t>
                      </a:r>
                    </a:p>
                  </a:txBody>
                  <a:tcPr marL="0" marR="0" marT="0" marB="0" anchor="ctr">
                    <a:lnL w="12700" cmpd="sng">
                      <a:noFill/>
                    </a:lnL>
                    <a:lnR w="12700" cmpd="sng">
                      <a:noFill/>
                    </a:lnR>
                    <a:lnT w="28575" cap="flat" cmpd="sng" algn="ctr">
                      <a:no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508021"/>
                  </a:ext>
                </a:extLst>
              </a:tr>
              <a:tr h="347936">
                <a:tc>
                  <a:txBody>
                    <a:bodyPr/>
                    <a:lstStyle/>
                    <a:p>
                      <a:r>
                        <a:rPr lang="en-US" sz="1400" dirty="0">
                          <a:solidFill>
                            <a:schemeClr val="accent1"/>
                          </a:solidFill>
                          <a:latin typeface="+mn-lt"/>
                          <a:cs typeface="Segoe UI Semilight" panose="020B0402040204020203" pitchFamily="34" charset="0"/>
                        </a:rPr>
                        <a:t>10:30 - 10: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solidFill>
                            <a:schemeClr val="tx2"/>
                          </a:solidFill>
                          <a:latin typeface="+mj-lt"/>
                          <a:cs typeface="Segoe UI Semilight" panose="020B0402040204020203" pitchFamily="34" charset="0"/>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mn-lt"/>
                          <a:ea typeface="+mn-ea"/>
                          <a:cs typeface="+mn-cs"/>
                        </a:rPr>
                        <a:t>Pause</a:t>
                      </a:r>
                      <a:endParaRPr lang="en-US" sz="1200" dirty="0">
                        <a:solidFill>
                          <a:schemeClr val="tx2"/>
                        </a:solidFill>
                        <a:latin typeface="+mn-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497608"/>
                  </a:ext>
                </a:extLst>
              </a:tr>
              <a:tr h="347936">
                <a:tc>
                  <a:txBody>
                    <a:bodyPr/>
                    <a:lstStyle/>
                    <a:p>
                      <a:r>
                        <a:rPr lang="en-US" sz="1400" dirty="0">
                          <a:solidFill>
                            <a:schemeClr val="accent1"/>
                          </a:solidFill>
                          <a:latin typeface="+mn-lt"/>
                          <a:cs typeface="Segoe UI Semilight" panose="020B0402040204020203" pitchFamily="34" charset="0"/>
                        </a:rPr>
                        <a:t>10:45 - 11: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kern="1200" dirty="0">
                        <a:solidFill>
                          <a:schemeClr val="tx2"/>
                        </a:solidFill>
                        <a:latin typeface="+mn-lt"/>
                        <a:ea typeface="+mn-ea"/>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Introduktion til Azure </a:t>
                      </a:r>
                      <a:r>
                        <a:rPr lang="da-DK" sz="1200" kern="1200" dirty="0" err="1">
                          <a:solidFill>
                            <a:schemeClr val="dk1"/>
                          </a:solidFill>
                          <a:effectLst/>
                          <a:latin typeface="+mn-lt"/>
                          <a:ea typeface="+mn-ea"/>
                          <a:cs typeface="+mn-cs"/>
                        </a:rPr>
                        <a:t>Lighthouse</a:t>
                      </a:r>
                      <a:endParaRPr lang="da-DK" sz="1200" kern="1200" dirty="0">
                        <a:solidFill>
                          <a:schemeClr val="dk1"/>
                        </a:solidFill>
                        <a:effectLst/>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Introduktion til </a:t>
                      </a:r>
                      <a:r>
                        <a:rPr lang="da-DK" sz="1200" kern="1200" dirty="0" err="1">
                          <a:solidFill>
                            <a:schemeClr val="dk1"/>
                          </a:solidFill>
                          <a:effectLst/>
                          <a:latin typeface="+mn-lt"/>
                          <a:ea typeface="+mn-ea"/>
                          <a:cs typeface="+mn-cs"/>
                        </a:rPr>
                        <a:t>FSLogix</a:t>
                      </a:r>
                      <a:r>
                        <a:rPr lang="da-DK" sz="1200" kern="1200" dirty="0">
                          <a:solidFill>
                            <a:schemeClr val="dk1"/>
                          </a:solidFill>
                          <a:effectLst/>
                          <a:latin typeface="+mn-lt"/>
                          <a:ea typeface="+mn-ea"/>
                          <a:cs typeface="+mn-cs"/>
                        </a:rPr>
                        <a:t>.</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9131849"/>
                  </a:ext>
                </a:extLst>
              </a:tr>
              <a:tr h="382157">
                <a:tc>
                  <a:txBody>
                    <a:bodyPr/>
                    <a:lstStyle/>
                    <a:p>
                      <a:r>
                        <a:rPr lang="en-AU" sz="1400" dirty="0">
                          <a:solidFill>
                            <a:schemeClr val="accent1"/>
                          </a:solidFill>
                          <a:latin typeface="+mn-lt"/>
                          <a:cs typeface="Segoe UI Semilight" panose="020B0402040204020203" pitchFamily="34" charset="0"/>
                        </a:rPr>
                        <a:t>11:45 - 12:30</a:t>
                      </a:r>
                      <a:endParaRPr lang="en-US" sz="1400" dirty="0">
                        <a:solidFill>
                          <a:schemeClr val="accent1"/>
                        </a:solidFill>
                        <a:latin typeface="+mn-lt"/>
                        <a:cs typeface="Segoe UI Semilight" panose="020B0402040204020203" pitchFamily="34" charset="0"/>
                      </a:endParaRP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da-DK" sz="1400" dirty="0">
                          <a:solidFill>
                            <a:schemeClr val="tx2"/>
                          </a:solidFill>
                          <a:latin typeface="+mj-lt"/>
                          <a:cs typeface="Segoe UI Semilight" panose="020B0402040204020203" pitchFamily="34" charset="0"/>
                        </a:rPr>
                        <a:t>Frokost pause</a:t>
                      </a:r>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err="1">
                          <a:solidFill>
                            <a:schemeClr val="dk1"/>
                          </a:solidFill>
                          <a:effectLst/>
                          <a:latin typeface="+mn-lt"/>
                          <a:ea typeface="+mn-ea"/>
                          <a:cs typeface="+mn-cs"/>
                        </a:rPr>
                        <a:t>Frokost</a:t>
                      </a:r>
                      <a:r>
                        <a:rPr lang="en-US" sz="1200" kern="1200" dirty="0">
                          <a:solidFill>
                            <a:schemeClr val="dk1"/>
                          </a:solidFill>
                          <a:effectLst/>
                          <a:latin typeface="+mn-lt"/>
                          <a:ea typeface="+mn-ea"/>
                          <a:cs typeface="+mn-cs"/>
                        </a:rPr>
                        <a:t> 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9371759"/>
                  </a:ext>
                </a:extLst>
              </a:tr>
              <a:tr h="409074">
                <a:tc>
                  <a:txBody>
                    <a:bodyPr/>
                    <a:lstStyle/>
                    <a:p>
                      <a:r>
                        <a:rPr lang="en-US" sz="1400" dirty="0">
                          <a:solidFill>
                            <a:schemeClr val="accent1"/>
                          </a:solidFill>
                          <a:latin typeface="+mn-lt"/>
                          <a:cs typeface="Segoe UI Semilight" panose="020B0402040204020203" pitchFamily="34" charset="0"/>
                        </a:rPr>
                        <a:t>12:30 – 14:45</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kern="1200" dirty="0">
                        <a:solidFill>
                          <a:schemeClr val="tx2"/>
                        </a:solidFill>
                        <a:latin typeface="+mn-lt"/>
                        <a:ea typeface="+mn-ea"/>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Gennemgang af "Best Practices"</a:t>
                      </a:r>
                    </a:p>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Performance test.</a:t>
                      </a:r>
                    </a:p>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Udfordringer med </a:t>
                      </a:r>
                      <a:r>
                        <a:rPr lang="da-DK" sz="1200" kern="1200" dirty="0" err="1">
                          <a:solidFill>
                            <a:schemeClr val="dk1"/>
                          </a:solidFill>
                          <a:effectLst/>
                          <a:latin typeface="+mn-lt"/>
                          <a:ea typeface="+mn-ea"/>
                          <a:cs typeface="+mn-cs"/>
                        </a:rPr>
                        <a:t>latency</a:t>
                      </a:r>
                      <a:r>
                        <a:rPr lang="da-DK" sz="1200" kern="1200" dirty="0">
                          <a:solidFill>
                            <a:schemeClr val="dk1"/>
                          </a:solidFill>
                          <a:effectLst/>
                          <a:latin typeface="+mn-l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lang="da-DK" sz="1200" kern="1200" dirty="0">
                          <a:solidFill>
                            <a:schemeClr val="dk1"/>
                          </a:solidFill>
                          <a:effectLst/>
                          <a:latin typeface="+mn-lt"/>
                          <a:ea typeface="+mn-ea"/>
                          <a:cs typeface="+mn-cs"/>
                        </a:rPr>
                        <a:t>WVD </a:t>
                      </a:r>
                      <a:r>
                        <a:rPr lang="da-DK" sz="1200" kern="1200" dirty="0" err="1">
                          <a:solidFill>
                            <a:schemeClr val="dk1"/>
                          </a:solidFill>
                          <a:effectLst/>
                          <a:latin typeface="+mn-lt"/>
                          <a:ea typeface="+mn-ea"/>
                          <a:cs typeface="+mn-cs"/>
                        </a:rPr>
                        <a:t>Lighthouse</a:t>
                      </a:r>
                      <a:r>
                        <a:rPr lang="da-DK" sz="1200" kern="1200" dirty="0">
                          <a:solidFill>
                            <a:schemeClr val="dk1"/>
                          </a:solidFill>
                          <a:effectLst/>
                          <a:latin typeface="+mn-lt"/>
                          <a:ea typeface="+mn-ea"/>
                          <a:cs typeface="+mn-cs"/>
                        </a:rPr>
                        <a:t> program</a:t>
                      </a:r>
                    </a:p>
                    <a:p>
                      <a:pPr marL="0" marR="0" lvl="0" indent="0" algn="l" defTabSz="932742" rtl="0" eaLnBrk="1" fontAlgn="auto" latinLnBrk="0" hangingPunct="1">
                        <a:lnSpc>
                          <a:spcPct val="100000"/>
                        </a:lnSpc>
                        <a:spcBef>
                          <a:spcPts val="0"/>
                        </a:spcBef>
                        <a:spcAft>
                          <a:spcPts val="0"/>
                        </a:spcAft>
                        <a:buClrTx/>
                        <a:buSzTx/>
                        <a:buFontTx/>
                        <a:buNone/>
                        <a:tabLst/>
                        <a:defRPr/>
                      </a:pPr>
                      <a:endParaRPr lang="da-DK" sz="1200" kern="1200" dirty="0">
                        <a:solidFill>
                          <a:schemeClr val="dk1"/>
                        </a:solidFill>
                        <a:effectLst/>
                        <a:latin typeface="+mn-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12564"/>
                  </a:ext>
                </a:extLst>
              </a:tr>
              <a:tr h="409074">
                <a:tc>
                  <a:txBody>
                    <a:bodyPr/>
                    <a:lstStyle/>
                    <a:p>
                      <a:r>
                        <a:rPr lang="en-US" sz="1400" dirty="0">
                          <a:solidFill>
                            <a:schemeClr val="accent1"/>
                          </a:solidFill>
                          <a:latin typeface="+mn-lt"/>
                          <a:cs typeface="Segoe UI Semilight" panose="020B0402040204020203" pitchFamily="34" charset="0"/>
                        </a:rPr>
                        <a:t>14:45 - 15:0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1200" dirty="0">
                          <a:solidFill>
                            <a:schemeClr val="dk1"/>
                          </a:solidFill>
                          <a:effectLst/>
                          <a:latin typeface="+mj-lt"/>
                          <a:ea typeface="+mn-ea"/>
                          <a:cs typeface="+mn-cs"/>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effectLst/>
                          <a:latin typeface="+mn-lt"/>
                          <a:ea typeface="+mn-ea"/>
                          <a:cs typeface="+mn-cs"/>
                        </a:rPr>
                        <a:t>Pause</a:t>
                      </a: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944818"/>
                  </a:ext>
                </a:extLst>
              </a:tr>
              <a:tr h="192506">
                <a:tc>
                  <a:txBody>
                    <a:bodyPr/>
                    <a:lstStyle/>
                    <a:p>
                      <a:r>
                        <a:rPr lang="en-AU" sz="1400" dirty="0">
                          <a:solidFill>
                            <a:schemeClr val="accent1"/>
                          </a:solidFill>
                          <a:latin typeface="+mn-lt"/>
                          <a:cs typeface="Segoe UI Semilight" panose="020B0402040204020203" pitchFamily="34" charset="0"/>
                        </a:rPr>
                        <a:t>15:00 - 15:30</a:t>
                      </a:r>
                      <a:endParaRPr lang="en-US" sz="1400" dirty="0">
                        <a:solidFill>
                          <a:schemeClr val="accent1"/>
                        </a:solidFill>
                        <a:latin typeface="+mn-lt"/>
                        <a:cs typeface="Segoe UI Semilight" panose="020B0402040204020203" pitchFamily="34" charset="0"/>
                      </a:endParaRP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da-DK" sz="1400" dirty="0">
                          <a:solidFill>
                            <a:schemeClr val="tx2"/>
                          </a:solidFill>
                          <a:latin typeface="+mj-lt"/>
                          <a:cs typeface="Segoe UI Semilight" panose="020B0402040204020203" pitchFamily="34" charset="0"/>
                        </a:rPr>
                        <a:t>Torben Juhl Microsoft</a:t>
                      </a:r>
                      <a:endParaRPr lang="en-US" sz="1400" dirty="0">
                        <a:solidFill>
                          <a:schemeClr val="tx2"/>
                        </a:solidFill>
                        <a:latin typeface="+mj-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err="1">
                          <a:solidFill>
                            <a:schemeClr val="dk1"/>
                          </a:solidFill>
                          <a:effectLst/>
                          <a:latin typeface="+mn-lt"/>
                          <a:ea typeface="+mn-ea"/>
                          <a:cs typeface="+mn-cs"/>
                        </a:rPr>
                        <a:t>Indlæg</a:t>
                      </a:r>
                      <a:r>
                        <a:rPr lang="en-US" sz="1200" kern="1200" dirty="0">
                          <a:solidFill>
                            <a:schemeClr val="dk1"/>
                          </a:solidFill>
                          <a:effectLst/>
                          <a:latin typeface="+mn-lt"/>
                          <a:ea typeface="+mn-ea"/>
                          <a:cs typeface="+mn-cs"/>
                        </a:rPr>
                        <a:t> </a:t>
                      </a:r>
                      <a:r>
                        <a:rPr lang="en-US" sz="1200" kern="1200" dirty="0" err="1">
                          <a:solidFill>
                            <a:schemeClr val="dk1"/>
                          </a:solidFill>
                          <a:effectLst/>
                          <a:latin typeface="+mn-lt"/>
                          <a:ea typeface="+mn-ea"/>
                          <a:cs typeface="+mn-cs"/>
                        </a:rPr>
                        <a:t>vedr</a:t>
                      </a:r>
                      <a:r>
                        <a:rPr lang="en-US" sz="1200" kern="1200" dirty="0">
                          <a:solidFill>
                            <a:schemeClr val="dk1"/>
                          </a:solidFill>
                          <a:effectLst/>
                          <a:latin typeface="+mn-lt"/>
                          <a:ea typeface="+mn-ea"/>
                          <a:cs typeface="+mn-cs"/>
                        </a:rPr>
                        <a:t>. WVD</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n-lt"/>
                        <a:cs typeface="Segoe UI Semilight" panose="020B0402040204020203" pitchFamily="34" charset="0"/>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410220"/>
                  </a:ext>
                </a:extLst>
              </a:tr>
              <a:tr h="442762">
                <a:tc>
                  <a:txBody>
                    <a:bodyPr/>
                    <a:lstStyle/>
                    <a:p>
                      <a:r>
                        <a:rPr lang="en-US" sz="1400" dirty="0">
                          <a:solidFill>
                            <a:schemeClr val="accent1"/>
                          </a:solidFill>
                          <a:latin typeface="+mn-lt"/>
                          <a:cs typeface="Segoe UI Semilight" panose="020B0402040204020203" pitchFamily="34" charset="0"/>
                        </a:rPr>
                        <a:t>15:30 - 16:00</a:t>
                      </a:r>
                    </a:p>
                  </a:txBody>
                  <a:tcPr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kern="1200" dirty="0">
                          <a:solidFill>
                            <a:schemeClr val="dk1"/>
                          </a:solidFill>
                          <a:effectLst/>
                          <a:latin typeface="+mj-lt"/>
                          <a:ea typeface="+mn-ea"/>
                          <a:cs typeface="+mn-cs"/>
                        </a:rPr>
                        <a:t>Kahoot quiz </a:t>
                      </a:r>
                      <a:r>
                        <a:rPr lang="en-AU" sz="1400" kern="1200" dirty="0" err="1">
                          <a:solidFill>
                            <a:schemeClr val="dk1"/>
                          </a:solidFill>
                          <a:effectLst/>
                          <a:latin typeface="+mj-lt"/>
                          <a:ea typeface="+mn-ea"/>
                          <a:cs typeface="+mn-cs"/>
                        </a:rPr>
                        <a:t>og</a:t>
                      </a:r>
                      <a:r>
                        <a:rPr lang="en-AU" sz="1400" kern="1200" dirty="0">
                          <a:solidFill>
                            <a:schemeClr val="dk1"/>
                          </a:solidFill>
                          <a:effectLst/>
                          <a:latin typeface="+mj-lt"/>
                          <a:ea typeface="+mn-ea"/>
                          <a:cs typeface="+mn-cs"/>
                        </a:rPr>
                        <a:t> WVD dialog</a:t>
                      </a:r>
                      <a:endParaRPr lang="en-US" sz="1400" kern="1200" dirty="0">
                        <a:solidFill>
                          <a:schemeClr val="dk1"/>
                        </a:solidFill>
                        <a:effectLst/>
                        <a:latin typeface="+mj-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200" kern="1200" dirty="0">
                          <a:solidFill>
                            <a:schemeClr val="dk1"/>
                          </a:solidFill>
                          <a:effectLst/>
                          <a:latin typeface="+mn-lt"/>
                          <a:ea typeface="+mn-ea"/>
                          <a:cs typeface="+mn-cs"/>
                        </a:rPr>
                        <a:t>Kahoot quiz </a:t>
                      </a:r>
                      <a:r>
                        <a:rPr lang="en-AU" sz="1200" kern="1200" dirty="0" err="1">
                          <a:solidFill>
                            <a:schemeClr val="dk1"/>
                          </a:solidFill>
                          <a:effectLst/>
                          <a:latin typeface="+mn-lt"/>
                          <a:ea typeface="+mn-ea"/>
                          <a:cs typeface="+mn-cs"/>
                        </a:rPr>
                        <a:t>og</a:t>
                      </a:r>
                      <a:r>
                        <a:rPr lang="en-AU" sz="1200" kern="1200" dirty="0">
                          <a:solidFill>
                            <a:schemeClr val="dk1"/>
                          </a:solidFill>
                          <a:effectLst/>
                          <a:latin typeface="+mn-lt"/>
                          <a:ea typeface="+mn-ea"/>
                          <a:cs typeface="+mn-cs"/>
                        </a:rPr>
                        <a:t> dialog </a:t>
                      </a:r>
                      <a:r>
                        <a:rPr lang="en-AU" sz="1200" kern="1200" dirty="0" err="1">
                          <a:solidFill>
                            <a:schemeClr val="dk1"/>
                          </a:solidFill>
                          <a:effectLst/>
                          <a:latin typeface="+mn-lt"/>
                          <a:ea typeface="+mn-ea"/>
                          <a:cs typeface="+mn-cs"/>
                        </a:rPr>
                        <a:t>omkring</a:t>
                      </a:r>
                      <a:r>
                        <a:rPr lang="en-AU" sz="1200" kern="1200" dirty="0">
                          <a:solidFill>
                            <a:schemeClr val="dk1"/>
                          </a:solidFill>
                          <a:effectLst/>
                          <a:latin typeface="+mn-lt"/>
                          <a:ea typeface="+mn-ea"/>
                          <a:cs typeface="+mn-cs"/>
                        </a:rPr>
                        <a:t> Windows Virtual Desktop I </a:t>
                      </a:r>
                      <a:r>
                        <a:rPr lang="en-AU" sz="1200" kern="1200" dirty="0" err="1">
                          <a:solidFill>
                            <a:schemeClr val="dk1"/>
                          </a:solidFill>
                          <a:effectLst/>
                          <a:latin typeface="+mn-lt"/>
                          <a:ea typeface="+mn-ea"/>
                          <a:cs typeface="+mn-cs"/>
                        </a:rPr>
                        <a:t>jeres</a:t>
                      </a:r>
                      <a:r>
                        <a:rPr lang="en-AU" sz="1200" kern="1200" dirty="0">
                          <a:solidFill>
                            <a:schemeClr val="dk1"/>
                          </a:solidFill>
                          <a:effectLst/>
                          <a:latin typeface="+mn-lt"/>
                          <a:ea typeface="+mn-ea"/>
                          <a:cs typeface="+mn-cs"/>
                        </a:rPr>
                        <a:t> </a:t>
                      </a:r>
                      <a:r>
                        <a:rPr lang="en-AU" sz="1200" kern="1200" dirty="0" err="1">
                          <a:solidFill>
                            <a:schemeClr val="dk1"/>
                          </a:solidFill>
                          <a:effectLst/>
                          <a:latin typeface="+mn-lt"/>
                          <a:ea typeface="+mn-ea"/>
                          <a:cs typeface="+mn-cs"/>
                        </a:rPr>
                        <a:t>virksomhed</a:t>
                      </a:r>
                      <a:r>
                        <a:rPr lang="en-AU" sz="1200" kern="1200" dirty="0">
                          <a:solidFill>
                            <a:schemeClr val="dk1"/>
                          </a:solidFill>
                          <a:effectLst/>
                          <a:latin typeface="+mn-lt"/>
                          <a:ea typeface="+mn-ea"/>
                          <a:cs typeface="+mn-cs"/>
                        </a:rPr>
                        <a:t>. (</a:t>
                      </a:r>
                      <a:r>
                        <a:rPr lang="da-DK" sz="1200" kern="1200" dirty="0">
                          <a:solidFill>
                            <a:schemeClr val="dk1"/>
                          </a:solidFill>
                          <a:effectLst/>
                          <a:latin typeface="+mn-lt"/>
                          <a:ea typeface="+mn-ea"/>
                          <a:cs typeface="+mn-cs"/>
                        </a:rPr>
                        <a:t>Diskussion/debat)</a:t>
                      </a:r>
                      <a:endParaRPr lang="en-US" sz="1200" kern="1200" dirty="0">
                        <a:solidFill>
                          <a:schemeClr val="dk1"/>
                        </a:solidFill>
                        <a:effectLst/>
                        <a:latin typeface="+mn-lt"/>
                        <a:ea typeface="+mn-ea"/>
                        <a:cs typeface="+mn-cs"/>
                      </a:endParaRPr>
                    </a:p>
                  </a:txBody>
                  <a:tcPr marL="0" marR="0" marT="0" marB="0" anchor="ctr">
                    <a:lnL w="12700" cmpd="sng">
                      <a:noFill/>
                    </a:lnL>
                    <a:lnR w="12700" cmpd="sng">
                      <a:noFill/>
                    </a:lnR>
                    <a:lnT w="9525" cap="flat" cmpd="sng" algn="ctr">
                      <a:solidFill>
                        <a:schemeClr val="tx2">
                          <a:lumMod val="25000"/>
                          <a:lumOff val="75000"/>
                        </a:schemeClr>
                      </a:solidFill>
                      <a:prstDash val="solid"/>
                      <a:round/>
                      <a:headEnd type="none" w="med" len="med"/>
                      <a:tailEnd type="none" w="med" len="med"/>
                    </a:lnT>
                    <a:lnB w="9525" cap="flat" cmpd="sng" algn="ctr">
                      <a:solidFill>
                        <a:schemeClr val="tx2">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853654"/>
                  </a:ext>
                </a:extLst>
              </a:tr>
            </a:tbl>
          </a:graphicData>
        </a:graphic>
      </p:graphicFrame>
      <p:graphicFrame>
        <p:nvGraphicFramePr>
          <p:cNvPr id="12" name="Table 11">
            <a:extLst>
              <a:ext uri="{FF2B5EF4-FFF2-40B4-BE49-F238E27FC236}">
                <a16:creationId xmlns:a16="http://schemas.microsoft.com/office/drawing/2014/main" id="{CD681FA1-51F6-44F8-A90C-69F2BB5565C0}"/>
              </a:ext>
            </a:extLst>
          </p:cNvPr>
          <p:cNvGraphicFramePr>
            <a:graphicFrameLocks noGrp="1"/>
          </p:cNvGraphicFramePr>
          <p:nvPr/>
        </p:nvGraphicFramePr>
        <p:xfrm>
          <a:off x="426424" y="1941105"/>
          <a:ext cx="11125109" cy="301171"/>
        </p:xfrm>
        <a:graphic>
          <a:graphicData uri="http://schemas.openxmlformats.org/drawingml/2006/table">
            <a:tbl>
              <a:tblPr firstRow="1" bandRow="1">
                <a:tableStyleId>{F5AB1C69-6EDB-4FF4-983F-18BD219EF322}</a:tableStyleId>
              </a:tblPr>
              <a:tblGrid>
                <a:gridCol w="1300776">
                  <a:extLst>
                    <a:ext uri="{9D8B030D-6E8A-4147-A177-3AD203B41FA5}">
                      <a16:colId xmlns:a16="http://schemas.microsoft.com/office/drawing/2014/main" val="4095939447"/>
                    </a:ext>
                  </a:extLst>
                </a:gridCol>
                <a:gridCol w="3736051">
                  <a:extLst>
                    <a:ext uri="{9D8B030D-6E8A-4147-A177-3AD203B41FA5}">
                      <a16:colId xmlns:a16="http://schemas.microsoft.com/office/drawing/2014/main" val="690451674"/>
                    </a:ext>
                  </a:extLst>
                </a:gridCol>
                <a:gridCol w="6088282">
                  <a:extLst>
                    <a:ext uri="{9D8B030D-6E8A-4147-A177-3AD203B41FA5}">
                      <a16:colId xmlns:a16="http://schemas.microsoft.com/office/drawing/2014/main" val="4217532766"/>
                    </a:ext>
                  </a:extLst>
                </a:gridCol>
              </a:tblGrid>
              <a:tr h="301171">
                <a:tc>
                  <a:txBody>
                    <a:bodyPr/>
                    <a:lstStyle/>
                    <a:p>
                      <a:r>
                        <a:rPr lang="en-US" sz="1400" kern="0">
                          <a:solidFill>
                            <a:schemeClr val="tx2"/>
                          </a:solidFill>
                          <a:latin typeface="+mj-lt"/>
                          <a:ea typeface="+mn-ea"/>
                          <a:cs typeface="Segoe UI Semilight" panose="020B0402040204020203" pitchFamily="34" charset="0"/>
                        </a:rPr>
                        <a:t>Time</a:t>
                      </a:r>
                    </a:p>
                  </a:txBody>
                  <a:tcPr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kern="0">
                          <a:solidFill>
                            <a:schemeClr val="tx2"/>
                          </a:solidFill>
                          <a:latin typeface="+mj-lt"/>
                          <a:ea typeface="+mn-ea"/>
                          <a:cs typeface="Segoe UI Semilight" panose="020B0402040204020203" pitchFamily="34" charset="0"/>
                        </a:rPr>
                        <a:t>Topic</a:t>
                      </a: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kern="0" dirty="0">
                          <a:solidFill>
                            <a:schemeClr val="tx2"/>
                          </a:solidFill>
                          <a:latin typeface="+mj-lt"/>
                          <a:ea typeface="+mn-ea"/>
                          <a:cs typeface="Segoe UI Semilight" panose="020B0402040204020203" pitchFamily="34" charset="0"/>
                        </a:rPr>
                        <a:t>Description</a:t>
                      </a:r>
                      <a:endParaRPr lang="en-US" sz="1400" kern="0" dirty="0">
                        <a:solidFill>
                          <a:schemeClr val="tx2"/>
                        </a:solidFill>
                        <a:latin typeface="+mj-lt"/>
                        <a:ea typeface="+mn-ea"/>
                        <a:cs typeface="Segoe UI Semilight" panose="020B0402040204020203" pitchFamily="34" charset="0"/>
                      </a:endParaRP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970249"/>
                  </a:ext>
                </a:extLst>
              </a:tr>
            </a:tbl>
          </a:graphicData>
        </a:graphic>
      </p:graphicFrame>
    </p:spTree>
    <p:extLst>
      <p:ext uri="{BB962C8B-B14F-4D97-AF65-F5344CB8AC3E}">
        <p14:creationId xmlns:p14="http://schemas.microsoft.com/office/powerpoint/2010/main" val="2454690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D29A4B0-A456-435E-84F4-D71306110A63}"/>
              </a:ext>
            </a:extLst>
          </p:cNvPr>
          <p:cNvGraphicFramePr>
            <a:graphicFrameLocks noGrp="1"/>
          </p:cNvGraphicFramePr>
          <p:nvPr>
            <p:extLst>
              <p:ext uri="{D42A27DB-BD31-4B8C-83A1-F6EECF244321}">
                <p14:modId xmlns:p14="http://schemas.microsoft.com/office/powerpoint/2010/main" val="4264478728"/>
              </p:ext>
            </p:extLst>
          </p:nvPr>
        </p:nvGraphicFramePr>
        <p:xfrm>
          <a:off x="348108" y="1012371"/>
          <a:ext cx="9423520" cy="5608773"/>
        </p:xfrm>
        <a:graphic>
          <a:graphicData uri="http://schemas.openxmlformats.org/drawingml/2006/table">
            <a:tbl>
              <a:tblPr firstRow="1" bandRow="1">
                <a:tableStyleId>{5FD0F851-EC5A-4D38-B0AD-8093EC10F338}</a:tableStyleId>
              </a:tblPr>
              <a:tblGrid>
                <a:gridCol w="1507435">
                  <a:extLst>
                    <a:ext uri="{9D8B030D-6E8A-4147-A177-3AD203B41FA5}">
                      <a16:colId xmlns:a16="http://schemas.microsoft.com/office/drawing/2014/main" val="2588202515"/>
                    </a:ext>
                  </a:extLst>
                </a:gridCol>
                <a:gridCol w="5924570">
                  <a:extLst>
                    <a:ext uri="{9D8B030D-6E8A-4147-A177-3AD203B41FA5}">
                      <a16:colId xmlns:a16="http://schemas.microsoft.com/office/drawing/2014/main" val="3248942070"/>
                    </a:ext>
                  </a:extLst>
                </a:gridCol>
                <a:gridCol w="1004957">
                  <a:extLst>
                    <a:ext uri="{9D8B030D-6E8A-4147-A177-3AD203B41FA5}">
                      <a16:colId xmlns:a16="http://schemas.microsoft.com/office/drawing/2014/main" val="3317471469"/>
                    </a:ext>
                  </a:extLst>
                </a:gridCol>
                <a:gridCol w="986558">
                  <a:extLst>
                    <a:ext uri="{9D8B030D-6E8A-4147-A177-3AD203B41FA5}">
                      <a16:colId xmlns:a16="http://schemas.microsoft.com/office/drawing/2014/main" val="3698855998"/>
                    </a:ext>
                  </a:extLst>
                </a:gridCol>
              </a:tblGrid>
              <a:tr h="401704">
                <a:tc>
                  <a:txBody>
                    <a:bodyPr/>
                    <a:lstStyle/>
                    <a:p>
                      <a:endParaRPr lang="en-US" sz="700" b="1">
                        <a:latin typeface="Segoe UI" panose="020B0502040204020203" pitchFamily="34" charset="0"/>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Semibold"/>
                          <a:ea typeface="+mn-ea"/>
                          <a:cs typeface="+mn-cs"/>
                        </a:rPr>
                        <a:t>Features</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p>
                  </a:txBody>
                  <a:tcPr marR="4572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t>Microsoft 365 </a:t>
                      </a:r>
                      <a:b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t>E3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t>Microsoft 365 </a:t>
                      </a:r>
                      <a:b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1050" u="none" strike="noStrike" kern="1200" cap="none" spc="0" normalizeH="0" baseline="0" noProof="0">
                          <a:ln>
                            <a:noFill/>
                          </a:ln>
                          <a:solidFill>
                            <a:schemeClr val="accent1"/>
                          </a:solidFill>
                          <a:effectLst/>
                          <a:uLnTx/>
                          <a:uFillTx/>
                          <a:latin typeface="Segoe UI Semibold" panose="020B0702040204020203" pitchFamily="34" charset="0"/>
                          <a:cs typeface="Segoe UI Semibold" panose="020B0702040204020203" pitchFamily="34" charset="0"/>
                        </a:rPr>
                        <a:t>E5</a:t>
                      </a:r>
                      <a:endParaRPr lang="en-US" sz="1050">
                        <a:solidFill>
                          <a:schemeClr val="accent1"/>
                        </a:solidFill>
                        <a:latin typeface="Segoe UI Semibold" panose="020B0702040204020203" pitchFamily="34" charset="0"/>
                        <a:cs typeface="Segoe UI Semibold" panose="020B0702040204020203"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6060637"/>
                  </a:ext>
                </a:extLst>
              </a:tr>
              <a:tr h="193413">
                <a:tc>
                  <a:txBody>
                    <a:bodyPr/>
                    <a:lstStyle/>
                    <a:p>
                      <a:endParaRPr lang="en-US" sz="700" b="1">
                        <a:latin typeface="Segoe UI" panose="020B0502040204020203" pitchFamily="34" charset="0"/>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noProof="0">
                          <a:solidFill>
                            <a:schemeClr val="tx1"/>
                          </a:solidFill>
                          <a:latin typeface="Segoe UI" panose="020B0502040204020203" pitchFamily="34" charset="0"/>
                          <a:ea typeface="+mn-ea"/>
                          <a:cs typeface="Segoe UI" panose="020B0502040204020203" pitchFamily="34" charset="0"/>
                        </a:rPr>
                        <a:t>Estimated retail price per user per month $USD (with annual commitment)</a:t>
                      </a:r>
                    </a:p>
                  </a:txBody>
                  <a:tcPr marT="0"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latin typeface="Segoe UI" panose="020B0502040204020203" pitchFamily="34" charset="0"/>
                          <a:cs typeface="Segoe UI" panose="020B0502040204020203" pitchFamily="34" charset="0"/>
                        </a:rPr>
                        <a:t>$3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a:latin typeface="Segoe UI" panose="020B0502040204020203" pitchFamily="34" charset="0"/>
                          <a:cs typeface="Segoe UI" panose="020B0502040204020203" pitchFamily="34" charset="0"/>
                        </a:rPr>
                        <a:t>$5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1043704"/>
                  </a:ext>
                </a:extLst>
              </a:tr>
              <a:tr h="193413">
                <a:tc>
                  <a:txBody>
                    <a:bodyPr/>
                    <a:lstStyle/>
                    <a:p>
                      <a:endParaRPr lang="en-US" sz="700" b="1">
                        <a:latin typeface="Segoe UI" panose="020B0502040204020203" pitchFamily="34" charset="0"/>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Segoe UI" panose="020B0502040204020203" pitchFamily="34" charset="0"/>
                          <a:cs typeface="Segoe UI" panose="020B0502040204020203" pitchFamily="34" charset="0"/>
                        </a:rPr>
                        <a:t>Maximum number of users</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latin typeface="Segoe UI" panose="020B0502040204020203" pitchFamily="34" charset="0"/>
                          <a:cs typeface="Segoe UI" panose="020B0502040204020203" pitchFamily="34" charset="0"/>
                        </a:rPr>
                        <a:t>unlimited</a:t>
                      </a: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a:latin typeface="Segoe UI" panose="020B0502040204020203" pitchFamily="34" charset="0"/>
                          <a:cs typeface="Segoe UI" panose="020B0502040204020203" pitchFamily="34" charset="0"/>
                        </a:rPr>
                        <a:t>unlimited</a:t>
                      </a: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1928026"/>
                  </a:ext>
                </a:extLst>
              </a:tr>
              <a:tr h="267803">
                <a:tc>
                  <a:txBody>
                    <a:bodyPr/>
                    <a:lstStyle/>
                    <a:p>
                      <a:r>
                        <a:rPr lang="en-US" sz="1000" b="0">
                          <a:solidFill>
                            <a:schemeClr val="tx1"/>
                          </a:solidFill>
                          <a:latin typeface="+mj-lt"/>
                          <a:cs typeface="Segoe UI" panose="020B0502040204020203" pitchFamily="34" charset="0"/>
                        </a:rPr>
                        <a:t>Office Apps</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Segoe UI" panose="020B0502040204020203" pitchFamily="34" charset="0"/>
                          <a:cs typeface="Segoe UI" panose="020B0502040204020203" pitchFamily="34" charset="0"/>
                        </a:rPr>
                        <a:t>Install Office on</a:t>
                      </a:r>
                      <a:r>
                        <a:rPr lang="en-US" sz="900" baseline="0">
                          <a:latin typeface="Segoe UI" panose="020B0502040204020203" pitchFamily="34" charset="0"/>
                          <a:cs typeface="Segoe UI" panose="020B0502040204020203" pitchFamily="34" charset="0"/>
                        </a:rPr>
                        <a:t> up to 5 PCs/Macs + 5 tablets + 5 smartphones per user (Word, Excel, PowerPoint, OneNote, Access), Office Online</a:t>
                      </a:r>
                      <a:endParaRPr lang="en-US" sz="900">
                        <a:latin typeface="Segoe UI" panose="020B0502040204020203" pitchFamily="34" charset="0"/>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err="1">
                          <a:latin typeface="Segoe UI" panose="020B0502040204020203" pitchFamily="34" charset="0"/>
                          <a:cs typeface="Segoe UI" panose="020B0502040204020203" pitchFamily="34" charset="0"/>
                        </a:rPr>
                        <a:t>ProPlus</a:t>
                      </a:r>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err="1">
                          <a:latin typeface="Segoe UI" panose="020B0502040204020203" pitchFamily="34" charset="0"/>
                          <a:cs typeface="Segoe UI" panose="020B0502040204020203" pitchFamily="34" charset="0"/>
                        </a:rPr>
                        <a:t>ProPlus</a:t>
                      </a:r>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7798807"/>
                  </a:ext>
                </a:extLst>
              </a:tr>
              <a:tr h="238047">
                <a:tc>
                  <a:txBody>
                    <a:bodyPr/>
                    <a:lstStyle/>
                    <a:p>
                      <a:r>
                        <a:rPr lang="en-US" sz="1000" b="0">
                          <a:solidFill>
                            <a:schemeClr val="tx1"/>
                          </a:solidFill>
                          <a:latin typeface="+mj-lt"/>
                          <a:cs typeface="Segoe UI" panose="020B0502040204020203" pitchFamily="34" charset="0"/>
                        </a:rPr>
                        <a:t>Email &amp; Calendar</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egoe UI" panose="020B0502040204020203" pitchFamily="34" charset="0"/>
                          <a:ea typeface="+mn-ea"/>
                          <a:cs typeface="Segoe UI" panose="020B0502040204020203" pitchFamily="34" charset="0"/>
                        </a:rPr>
                        <a:t>Outlook, Exchange Online</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unlimited</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unlimited</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9042603"/>
                  </a:ext>
                </a:extLst>
              </a:tr>
              <a:tr h="238047">
                <a:tc>
                  <a:txBody>
                    <a:bodyPr/>
                    <a:lstStyle/>
                    <a:p>
                      <a:r>
                        <a:rPr lang="en-US" sz="1000" b="0">
                          <a:solidFill>
                            <a:schemeClr val="tx1"/>
                          </a:solidFill>
                          <a:latin typeface="+mj-lt"/>
                          <a:cs typeface="Segoe UI" panose="020B0502040204020203" pitchFamily="34" charset="0"/>
                        </a:rPr>
                        <a:t>Hub for Teamwork</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panose="020B0502040204020203" pitchFamily="34" charset="0"/>
                          <a:ea typeface="+mn-ea"/>
                          <a:cs typeface="Segoe UI" panose="020B0502040204020203" pitchFamily="34" charset="0"/>
                        </a:rPr>
                        <a:t>Chat-based workspace, online meetings, and more in Microsoft Teams</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9475037"/>
                  </a:ext>
                </a:extLst>
              </a:tr>
              <a:tr h="238047">
                <a:tc>
                  <a:txBody>
                    <a:bodyPr/>
                    <a:lstStyle/>
                    <a:p>
                      <a:r>
                        <a:rPr lang="en-US" sz="1000" b="0">
                          <a:solidFill>
                            <a:schemeClr val="tx1"/>
                          </a:solidFill>
                          <a:latin typeface="+mj-lt"/>
                          <a:cs typeface="Segoe UI" panose="020B0502040204020203" pitchFamily="34" charset="0"/>
                        </a:rPr>
                        <a:t>File Storage</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panose="020B0502040204020203" pitchFamily="34" charset="0"/>
                          <a:ea typeface="+mn-ea"/>
                          <a:cs typeface="Segoe UI" panose="020B0502040204020203" pitchFamily="34" charset="0"/>
                        </a:rPr>
                        <a:t>OneDrive for Business</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unlimited</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unlimited</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6382137"/>
                  </a:ext>
                </a:extLst>
              </a:tr>
              <a:tr h="156909">
                <a:tc rowSpan="2">
                  <a:txBody>
                    <a:bodyPr/>
                    <a:lstStyle/>
                    <a:p>
                      <a:r>
                        <a:rPr lang="en-US" sz="1000" b="0" kern="1200" noProof="0">
                          <a:solidFill>
                            <a:schemeClr val="tx1"/>
                          </a:solidFill>
                          <a:latin typeface="+mj-lt"/>
                          <a:ea typeface="+mn-ea"/>
                          <a:cs typeface="Segoe UI" panose="020B0502040204020203" pitchFamily="34" charset="0"/>
                        </a:rPr>
                        <a:t>Social, Video, Sites</a:t>
                      </a:r>
                      <a:endParaRPr lang="en-US" sz="1000" b="0">
                        <a:solidFill>
                          <a:schemeClr val="tx1"/>
                        </a:solidFill>
                        <a:latin typeface="+mj-lt"/>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Yammer, SharePoint Online, Planner</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095128"/>
                  </a:ext>
                </a:extLst>
              </a:tr>
              <a:tr h="156909">
                <a:tc vMerge="1">
                  <a:txBody>
                    <a:bodyPr/>
                    <a:lstStyle/>
                    <a:p>
                      <a:endParaRPr lang="en-US" sz="900" b="1">
                        <a:latin typeface="+mn-lt"/>
                      </a:endParaRP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Stream</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9035471"/>
                  </a:ext>
                </a:extLst>
              </a:tr>
              <a:tr h="156909">
                <a:tc rowSpan="2">
                  <a:txBody>
                    <a:bodyPr/>
                    <a:lstStyle/>
                    <a:p>
                      <a:r>
                        <a:rPr lang="en-US" sz="1000" b="0">
                          <a:solidFill>
                            <a:schemeClr val="tx1"/>
                          </a:solidFill>
                          <a:latin typeface="+mj-lt"/>
                          <a:cs typeface="Segoe UI" panose="020B0502040204020203" pitchFamily="34" charset="0"/>
                        </a:rPr>
                        <a:t>Business Apps</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panose="020B0502040204020203" pitchFamily="34" charset="0"/>
                          <a:ea typeface="+mn-ea"/>
                          <a:cs typeface="Segoe UI" panose="020B0502040204020203" pitchFamily="34" charset="0"/>
                        </a:rPr>
                        <a:t>Scheduling Apps – Bookings</a:t>
                      </a:r>
                      <a:r>
                        <a:rPr lang="en-US" sz="900" kern="1200" baseline="30000">
                          <a:solidFill>
                            <a:schemeClr val="tx1"/>
                          </a:solidFill>
                          <a:latin typeface="Segoe UI" panose="020B0502040204020203" pitchFamily="34" charset="0"/>
                          <a:ea typeface="+mn-ea"/>
                          <a:cs typeface="Segoe UI" panose="020B0502040204020203" pitchFamily="34" charset="0"/>
                        </a:rPr>
                        <a:t>1</a:t>
                      </a:r>
                      <a:r>
                        <a:rPr lang="en-US" sz="900" kern="1200">
                          <a:solidFill>
                            <a:schemeClr val="tx1"/>
                          </a:solidFill>
                          <a:latin typeface="Segoe UI" panose="020B0502040204020203" pitchFamily="34" charset="0"/>
                          <a:ea typeface="+mn-ea"/>
                          <a:cs typeface="Segoe UI" panose="020B0502040204020203" pitchFamily="34" charset="0"/>
                        </a:rPr>
                        <a:t>, StaffHub</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2416"/>
                  </a:ext>
                </a:extLst>
              </a:tr>
              <a:tr h="156909">
                <a:tc vMerge="1">
                  <a:txBody>
                    <a:bodyPr/>
                    <a:lstStyle/>
                    <a:p>
                      <a:endParaRPr lang="en-US" sz="900" b="1">
                        <a:latin typeface="+mn-lt"/>
                      </a:endParaRP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Segoe UI" panose="020B0502040204020203" pitchFamily="34" charset="0"/>
                          <a:ea typeface="+mn-ea"/>
                          <a:cs typeface="Segoe UI" panose="020B0502040204020203" pitchFamily="34" charset="0"/>
                        </a:rPr>
                        <a:t>Business Apps – Outlook Customer Manager, MileIQ</a:t>
                      </a:r>
                      <a:r>
                        <a:rPr lang="en-US" sz="900" kern="1200" baseline="30000">
                          <a:solidFill>
                            <a:schemeClr val="tx1"/>
                          </a:solidFill>
                          <a:latin typeface="Segoe UI" panose="020B0502040204020203" pitchFamily="34" charset="0"/>
                          <a:ea typeface="+mn-ea"/>
                          <a:cs typeface="Segoe UI" panose="020B0502040204020203" pitchFamily="34" charset="0"/>
                        </a:rPr>
                        <a:t>1</a:t>
                      </a:r>
                      <a:r>
                        <a:rPr lang="en-US" sz="900" kern="1200">
                          <a:solidFill>
                            <a:schemeClr val="tx1"/>
                          </a:solidFill>
                          <a:latin typeface="Segoe UI" panose="020B0502040204020203" pitchFamily="34" charset="0"/>
                          <a:ea typeface="+mn-ea"/>
                          <a:cs typeface="Segoe UI" panose="020B0502040204020203" pitchFamily="34" charset="0"/>
                        </a:rPr>
                        <a:t>, Invoicing</a:t>
                      </a:r>
                      <a:r>
                        <a:rPr lang="en-US" sz="900" kern="1200" baseline="30000">
                          <a:solidFill>
                            <a:schemeClr val="tx1"/>
                          </a:solidFill>
                          <a:latin typeface="Segoe UI" panose="020B0502040204020203" pitchFamily="34" charset="0"/>
                          <a:ea typeface="+mn-ea"/>
                          <a:cs typeface="Segoe UI" panose="020B0502040204020203" pitchFamily="34" charset="0"/>
                        </a:rPr>
                        <a:t>1</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1219910"/>
                  </a:ext>
                </a:extLst>
              </a:tr>
              <a:tr h="156909">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Threat Protection</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Microsoft Advanced Threat Analytics, Device Guard, Credential Guard, App Locker, </a:t>
                      </a:r>
                      <a:r>
                        <a:rPr lang="en-US" sz="900" i="0" kern="1200">
                          <a:solidFill>
                            <a:schemeClr val="tx1"/>
                          </a:solidFill>
                          <a:latin typeface="Segoe UI" panose="020B0502040204020203" pitchFamily="34" charset="0"/>
                          <a:ea typeface="+mn-ea"/>
                          <a:cs typeface="Segoe UI" panose="020B0502040204020203" pitchFamily="34" charset="0"/>
                        </a:rPr>
                        <a:t>Enterprise Data Protection,</a:t>
                      </a:r>
                      <a:endParaRPr lang="en-US" sz="900" i="0" kern="1200" noProof="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9073235"/>
                  </a:ext>
                </a:extLst>
              </a:tr>
              <a:tr h="156909">
                <a:tc vMerge="1">
                  <a:txBody>
                    <a:bodyPr/>
                    <a:lstStyle/>
                    <a:p>
                      <a:endParaRPr lang="en-US" sz="1100">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Office 365 Advanced Threat Protection</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5629465"/>
                  </a:ext>
                </a:extLst>
              </a:tr>
              <a:tr h="156909">
                <a:tc vMerge="1">
                  <a:txBody>
                    <a:bodyPr/>
                    <a:lstStyle/>
                    <a:p>
                      <a:endParaRPr lang="en-US" sz="1100">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Windows Defender Advanced Threat Protection</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243618"/>
                  </a:ext>
                </a:extLst>
              </a:tr>
              <a:tr h="156909">
                <a:tc vMerge="1">
                  <a:txBody>
                    <a:bodyPr/>
                    <a:lstStyle/>
                    <a:p>
                      <a:endParaRPr lang="en-US" sz="1100">
                        <a:latin typeface="+mn-lt"/>
                      </a:endParaRPr>
                    </a:p>
                  </a:txBody>
                  <a:tcP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Office 365 Threat Intelligence</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1914588"/>
                  </a:ext>
                </a:extLst>
              </a:tr>
              <a:tr h="156909">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Identity Management</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Self-service password reset for hybrid Azure Active Directory accounts</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2242138"/>
                  </a:ext>
                </a:extLst>
              </a:tr>
              <a:tr h="1569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tx1"/>
                        </a:solidFill>
                        <a:latin typeface="+mn-lt"/>
                        <a:ea typeface="+mn-ea"/>
                        <a:cs typeface="+mn-cs"/>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Azure AD: Conditional Access, Cloud App Discovery, AAD Connect Health, SSO for more than 10 Apps</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4656606"/>
                  </a:ext>
                </a:extLst>
              </a:tr>
              <a:tr h="1569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tx1"/>
                        </a:solidFill>
                        <a:latin typeface="+mn-lt"/>
                        <a:ea typeface="+mn-ea"/>
                        <a:cs typeface="+mn-cs"/>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Credential Guard and Direct Access</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0926022"/>
                  </a:ext>
                </a:extLst>
              </a:tr>
              <a:tr h="1569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tx1"/>
                        </a:solidFill>
                        <a:latin typeface="+mn-lt"/>
                        <a:ea typeface="+mn-ea"/>
                        <a:cs typeface="+mn-cs"/>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Azure Active Directory Plan 2</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2600932"/>
                  </a:ext>
                </a:extLst>
              </a:tr>
              <a:tr h="15690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Device &amp; App Management</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Microsoft Intune, Windows </a:t>
                      </a:r>
                      <a:r>
                        <a:rPr lang="en-US" sz="900" i="0" kern="1200" err="1">
                          <a:solidFill>
                            <a:schemeClr val="tx1"/>
                          </a:solidFill>
                          <a:latin typeface="Segoe UI" panose="020B0502040204020203" pitchFamily="34" charset="0"/>
                          <a:ea typeface="+mn-ea"/>
                          <a:cs typeface="Segoe UI" panose="020B0502040204020203" pitchFamily="34" charset="0"/>
                        </a:rPr>
                        <a:t>AutoPilot</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3524414"/>
                  </a:ext>
                </a:extLst>
              </a:tr>
              <a:tr h="15690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Shared Computer Access</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3935819"/>
                  </a:ext>
                </a:extLst>
              </a:tr>
              <a:tr h="1569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Segoe UI" panose="020B0502040204020203" pitchFamily="34" charset="0"/>
                        <a:ea typeface="+mn-ea"/>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Microsoft Desktop Optimization Package, VDA</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1332673"/>
                  </a:ext>
                </a:extLst>
              </a:tr>
              <a:tr h="15690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Information Protection</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Office 365 Data Loss Prevention, Azure Information Protection Plan 1</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1259734"/>
                  </a:ext>
                </a:extLst>
              </a:tr>
              <a:tr h="22991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tx1"/>
                        </a:solidFill>
                        <a:latin typeface="+mn-lt"/>
                        <a:ea typeface="+mn-ea"/>
                        <a:cs typeface="+mn-cs"/>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Azure Information Protection Plan 2, Microsoft Cloud App Security, O365 Cloud App Security</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Segoe UI" panose="020B0502040204020203" pitchFamily="34" charset="0"/>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598128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On-Prem CAL Rights</a:t>
                      </a: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r>
                        <a:rPr lang="en-US" sz="900" i="0" kern="1200">
                          <a:solidFill>
                            <a:schemeClr val="tx1"/>
                          </a:solidFill>
                          <a:latin typeface="Segoe UI" panose="020B0502040204020203" pitchFamily="34" charset="0"/>
                          <a:ea typeface="+mn-ea"/>
                          <a:cs typeface="Segoe UI" panose="020B0502040204020203" pitchFamily="34" charset="0"/>
                        </a:rPr>
                        <a:t>ECAL Suite (Exchange, SharePoint, Skype, Windows, SCCM, Win. Rights Management)</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8679728"/>
                  </a:ext>
                </a:extLst>
              </a:tr>
              <a:tr h="15690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Compliance</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Unlimited email archiving</a:t>
                      </a:r>
                      <a:r>
                        <a:rPr lang="en-US" sz="900" kern="1200" baseline="30000">
                          <a:solidFill>
                            <a:schemeClr val="tx1"/>
                          </a:solidFill>
                          <a:latin typeface="Segoe UI" panose="020B0502040204020203" pitchFamily="34" charset="0"/>
                          <a:ea typeface="+mn-ea"/>
                          <a:cs typeface="Segoe UI" panose="020B0502040204020203" pitchFamily="34" charset="0"/>
                        </a:rPr>
                        <a:t>2</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lang="en-US" sz="1000">
                        <a:latin typeface="+mn-lt"/>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6182749"/>
                  </a:ext>
                </a:extLst>
              </a:tr>
              <a:tr h="15690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Segoe UI" panose="020B0502040204020203" pitchFamily="34" charset="0"/>
                        <a:ea typeface="+mn-ea"/>
                        <a:cs typeface="Segoe UI" panose="020B0502040204020203" pitchFamily="34" charset="0"/>
                      </a:endParaRP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noProof="0">
                          <a:solidFill>
                            <a:schemeClr val="tx1"/>
                          </a:solidFill>
                          <a:latin typeface="Segoe UI" panose="020B0502040204020203" pitchFamily="34" charset="0"/>
                          <a:ea typeface="+mn-ea"/>
                          <a:cs typeface="Segoe UI" panose="020B0502040204020203" pitchFamily="34" charset="0"/>
                        </a:rPr>
                        <a:t>Advanced eDiscovery, Customer Lockbox, Advanced Data Governance</a:t>
                      </a:r>
                      <a:endParaRPr lang="en-US" sz="900" i="0" kern="1200">
                        <a:solidFill>
                          <a:schemeClr val="tx1"/>
                        </a:solidFill>
                        <a:latin typeface="Segoe UI" panose="020B0502040204020203" pitchFamily="34" charset="0"/>
                        <a:ea typeface="+mn-ea"/>
                        <a:cs typeface="Segoe UI" panose="020B0502040204020203" pitchFamily="34" charset="0"/>
                      </a:endParaRP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mn-lt"/>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549812"/>
                  </a:ext>
                </a:extLst>
              </a:tr>
              <a:tr h="238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Analytics</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Power BI Pro, MyAnalytics</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latin typeface="+mn-lt"/>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823944"/>
                  </a:ext>
                </a:extLst>
              </a:tr>
              <a:tr h="238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mj-lt"/>
                          <a:ea typeface="+mn-ea"/>
                          <a:cs typeface="Segoe UI" panose="020B0502040204020203" pitchFamily="34" charset="0"/>
                        </a:rPr>
                        <a:t>Voice</a:t>
                      </a:r>
                    </a:p>
                  </a:txBody>
                  <a:tcPr>
                    <a:lnR w="28575" cap="flat" cmpd="sng" algn="ctr">
                      <a:solidFill>
                        <a:schemeClr val="bg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0" kern="1200">
                          <a:solidFill>
                            <a:schemeClr val="tx1"/>
                          </a:solidFill>
                          <a:latin typeface="Segoe UI" panose="020B0502040204020203" pitchFamily="34" charset="0"/>
                          <a:ea typeface="+mn-ea"/>
                          <a:cs typeface="Segoe UI" panose="020B0502040204020203" pitchFamily="34" charset="0"/>
                        </a:rPr>
                        <a:t>PSTN Conferencing, Cloud PBX</a:t>
                      </a:r>
                    </a:p>
                  </a:txBody>
                  <a:tcPr marT="0" marB="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latin typeface="+mn-lt"/>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1397158"/>
                  </a:ext>
                </a:extLst>
              </a:tr>
            </a:tbl>
          </a:graphicData>
        </a:graphic>
      </p:graphicFrame>
      <p:sp>
        <p:nvSpPr>
          <p:cNvPr id="7" name="Rectangle 6">
            <a:extLst>
              <a:ext uri="{FF2B5EF4-FFF2-40B4-BE49-F238E27FC236}">
                <a16:creationId xmlns:a16="http://schemas.microsoft.com/office/drawing/2014/main" id="{215CE1EA-F21B-4D7D-BB0E-9BA5DAEC8849}"/>
              </a:ext>
            </a:extLst>
          </p:cNvPr>
          <p:cNvSpPr/>
          <p:nvPr/>
        </p:nvSpPr>
        <p:spPr>
          <a:xfrm>
            <a:off x="348107" y="6632984"/>
            <a:ext cx="6096000" cy="215444"/>
          </a:xfrm>
          <a:prstGeom prst="rect">
            <a:avLst/>
          </a:prstGeom>
        </p:spPr>
        <p:txBody>
          <a:bodyPr>
            <a:spAutoFit/>
          </a:bodyPr>
          <a:lstStyle/>
          <a:p>
            <a:pPr marL="0" marR="0" lvl="0" indent="0" algn="l" defTabSz="1087660" rtl="0" eaLnBrk="1" fontAlgn="auto" latinLnBrk="0" hangingPunct="1">
              <a:lnSpc>
                <a:spcPct val="100000"/>
              </a:lnSpc>
              <a:spcBef>
                <a:spcPts val="0"/>
              </a:spcBef>
              <a:spcAft>
                <a:spcPts val="0"/>
              </a:spcAft>
              <a:buClr>
                <a:srgbClr val="0072C6"/>
              </a:buClr>
              <a:buSzPct val="100000"/>
              <a:buFontTx/>
              <a:buNone/>
              <a:tabLst/>
              <a:defRPr/>
            </a:pPr>
            <a:r>
              <a:rPr kumimoji="0" lang="en-US" sz="8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1] Available in US, UK, Canada         |         [2] Unlimited archiving when auto-expansion is turned on</a:t>
            </a:r>
          </a:p>
        </p:txBody>
      </p:sp>
      <p:sp>
        <p:nvSpPr>
          <p:cNvPr id="4" name="Title 3">
            <a:extLst>
              <a:ext uri="{FF2B5EF4-FFF2-40B4-BE49-F238E27FC236}">
                <a16:creationId xmlns:a16="http://schemas.microsoft.com/office/drawing/2014/main" id="{D5D80910-BA65-4F2B-97B1-243A9EFA07AA}"/>
              </a:ext>
            </a:extLst>
          </p:cNvPr>
          <p:cNvSpPr>
            <a:spLocks noGrp="1"/>
          </p:cNvSpPr>
          <p:nvPr>
            <p:ph type="title"/>
          </p:nvPr>
        </p:nvSpPr>
        <p:spPr/>
        <p:txBody>
          <a:bodyPr/>
          <a:lstStyle/>
          <a:p>
            <a:pPr>
              <a:tabLst>
                <a:tab pos="9197975" algn="l"/>
              </a:tabLst>
            </a:pPr>
            <a:r>
              <a:rPr lang="en-US" sz="2600"/>
              <a:t>Comparison of Business Premium, Microsoft 365 Business, Office 365 E3 and E5</a:t>
            </a:r>
          </a:p>
        </p:txBody>
      </p:sp>
    </p:spTree>
    <p:extLst>
      <p:ext uri="{BB962C8B-B14F-4D97-AF65-F5344CB8AC3E}">
        <p14:creationId xmlns:p14="http://schemas.microsoft.com/office/powerpoint/2010/main" val="1303310346"/>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0" name="Group 29">
            <a:extLst>
              <a:ext uri="{FF2B5EF4-FFF2-40B4-BE49-F238E27FC236}">
                <a16:creationId xmlns:a16="http://schemas.microsoft.com/office/drawing/2014/main" id="{97735CBF-18E6-4518-A1B0-6AA0D5117AE0}"/>
              </a:ext>
            </a:extLst>
          </p:cNvPr>
          <p:cNvGrpSpPr/>
          <p:nvPr/>
        </p:nvGrpSpPr>
        <p:grpSpPr>
          <a:xfrm>
            <a:off x="2842651" y="2659786"/>
            <a:ext cx="187578" cy="3738194"/>
            <a:chOff x="2849277" y="1648178"/>
            <a:chExt cx="187578" cy="3738194"/>
          </a:xfrm>
        </p:grpSpPr>
        <p:cxnSp>
          <p:nvCxnSpPr>
            <p:cNvPr id="191" name="Straight Connector 190">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00" name="Group 199">
            <a:extLst>
              <a:ext uri="{FF2B5EF4-FFF2-40B4-BE49-F238E27FC236}">
                <a16:creationId xmlns:a16="http://schemas.microsoft.com/office/drawing/2014/main" id="{CAD01618-8B91-4EC0-B3F1-4028EC168E80}"/>
              </a:ext>
            </a:extLst>
          </p:cNvPr>
          <p:cNvGrpSpPr/>
          <p:nvPr/>
        </p:nvGrpSpPr>
        <p:grpSpPr>
          <a:xfrm>
            <a:off x="7031995" y="2755616"/>
            <a:ext cx="155930" cy="3691795"/>
            <a:chOff x="2849277" y="128295"/>
            <a:chExt cx="187578" cy="5258077"/>
          </a:xfrm>
        </p:grpSpPr>
        <p:cxnSp>
          <p:nvCxnSpPr>
            <p:cNvPr id="201" name="Straight Connector 200">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02" name="Rectangle 201">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5D688CAA-98BE-4818-BC04-250D4529BA32}"/>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9" name="Rectangle 8">
            <a:extLst>
              <a:ext uri="{FF2B5EF4-FFF2-40B4-BE49-F238E27FC236}">
                <a16:creationId xmlns:a16="http://schemas.microsoft.com/office/drawing/2014/main" id="{B0FA6572-896B-41CE-922E-4284B244E0B8}"/>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Windows Virtual Desktop</a:t>
            </a:r>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4994175" y="3834996"/>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4994175" y="4699961"/>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334706" y="3288329"/>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7787505" y="3882836"/>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293160" y="4013418"/>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5" name="Group 224">
            <a:extLst>
              <a:ext uri="{FF2B5EF4-FFF2-40B4-BE49-F238E27FC236}">
                <a16:creationId xmlns:a16="http://schemas.microsoft.com/office/drawing/2014/main" id="{29F68ACA-2F7B-4C2A-BA4A-2D7D2CE84412}"/>
              </a:ext>
            </a:extLst>
          </p:cNvPr>
          <p:cNvGrpSpPr/>
          <p:nvPr/>
        </p:nvGrpSpPr>
        <p:grpSpPr>
          <a:xfrm>
            <a:off x="899303" y="3341056"/>
            <a:ext cx="1626420" cy="2908602"/>
            <a:chOff x="899303" y="2229846"/>
            <a:chExt cx="1626420" cy="2908602"/>
          </a:xfrm>
        </p:grpSpPr>
        <p:sp>
          <p:nvSpPr>
            <p:cNvPr id="21" name="Oval 20">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89" name="Oval 188">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0" name="Oval 189">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3" name="Group 22">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172" name="Group 171">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179"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3" name="Group 172">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175"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4" name="Picture 173">
                <a:extLst>
                  <a:ext uri="{FF2B5EF4-FFF2-40B4-BE49-F238E27FC236}">
                    <a16:creationId xmlns:a16="http://schemas.microsoft.com/office/drawing/2014/main" id="{8730A46E-2FAE-422C-9830-14B29B837545}"/>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81" name="Picture 180">
                <a:extLst>
                  <a:ext uri="{FF2B5EF4-FFF2-40B4-BE49-F238E27FC236}">
                    <a16:creationId xmlns:a16="http://schemas.microsoft.com/office/drawing/2014/main" id="{F48E8951-D959-4F6F-8C71-A9AFEBD2E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82"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7" name="TextBox 216">
            <a:extLst>
              <a:ext uri="{FF2B5EF4-FFF2-40B4-BE49-F238E27FC236}">
                <a16:creationId xmlns:a16="http://schemas.microsoft.com/office/drawing/2014/main" id="{A852D315-07A1-43B9-BFC6-74F3D9EE62F5}"/>
              </a:ext>
            </a:extLst>
          </p:cNvPr>
          <p:cNvSpPr txBox="1"/>
          <p:nvPr/>
        </p:nvSpPr>
        <p:spPr>
          <a:xfrm>
            <a:off x="412605" y="899396"/>
            <a:ext cx="10693932" cy="1877784"/>
          </a:xfrm>
          <a:prstGeom prst="rect">
            <a:avLst/>
          </a:prstGeom>
          <a:noFill/>
        </p:spPr>
        <p:txBody>
          <a:bodyPr wrap="square" lIns="179285" tIns="143428" rIns="179285" bIns="143428"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Semibold"/>
                <a:ea typeface="+mn-ea"/>
                <a:cs typeface="+mn-cs"/>
              </a:rPr>
              <a:t>Consists of: </a:t>
            </a:r>
            <a:r>
              <a:rPr kumimoji="0" lang="en-US" sz="1400" b="1" i="0" u="none" strike="noStrike" kern="1200" cap="none" spc="0" normalizeH="0" baseline="0" noProof="0" dirty="0">
                <a:ln>
                  <a:noFill/>
                </a:ln>
                <a:solidFill>
                  <a:srgbClr val="1A1A1A"/>
                </a:solidFill>
                <a:effectLst/>
                <a:uLnTx/>
                <a:uFillTx/>
                <a:latin typeface="Segoe UI"/>
                <a:ea typeface="+mn-ea"/>
                <a:cs typeface="+mn-cs"/>
              </a:rPr>
              <a:t>Azure ser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to manage connections between </a:t>
            </a:r>
            <a:r>
              <a:rPr kumimoji="0" lang="en-US" sz="1400" b="1" i="0" u="none" strike="noStrike" kern="1200" cap="none" spc="0" normalizeH="0" baseline="0" noProof="0" dirty="0">
                <a:ln>
                  <a:noFill/>
                </a:ln>
                <a:solidFill>
                  <a:srgbClr val="1A1A1A"/>
                </a:solidFill>
                <a:effectLst/>
                <a:uLnTx/>
                <a:uFillTx/>
                <a:latin typeface="Segoe UI"/>
                <a:ea typeface="+mn-ea"/>
                <a:cs typeface="+mn-cs"/>
              </a:rPr>
              <a:t>RD clients </a:t>
            </a:r>
            <a:r>
              <a:rPr kumimoji="0" lang="en-US" sz="1400" b="0" i="0" u="none" strike="noStrike" kern="1200" cap="none" spc="0" normalizeH="0" baseline="0" noProof="0" dirty="0">
                <a:ln>
                  <a:noFill/>
                </a:ln>
                <a:solidFill>
                  <a:srgbClr val="1A1A1A"/>
                </a:solidFill>
                <a:effectLst/>
                <a:uLnTx/>
                <a:uFillTx/>
                <a:latin typeface="Segoe UI"/>
                <a:ea typeface="+mn-ea"/>
                <a:cs typeface="+mn-cs"/>
              </a:rPr>
              <a:t>and </a:t>
            </a:r>
            <a:r>
              <a:rPr kumimoji="0" lang="en-US" sz="1400" b="1" i="0" u="none" strike="noStrike" kern="1200" cap="none" spc="0" normalizeH="0" baseline="0" noProof="0" dirty="0">
                <a:ln>
                  <a:noFill/>
                </a:ln>
                <a:solidFill>
                  <a:srgbClr val="1A1A1A"/>
                </a:solidFill>
                <a:effectLst/>
                <a:uLnTx/>
                <a:uFillTx/>
                <a:latin typeface="Segoe UI"/>
                <a:ea typeface="+mn-ea"/>
                <a:cs typeface="+mn-cs"/>
              </a:rPr>
              <a:t>Windows 10 Enterprise multi-session </a:t>
            </a:r>
            <a:r>
              <a:rPr kumimoji="0" lang="en-US" sz="1400" b="0" i="0" u="none" strike="noStrike" kern="1200" cap="none" spc="0" normalizeH="0" baseline="0" noProof="0" dirty="0">
                <a:ln>
                  <a:noFill/>
                </a:ln>
                <a:solidFill>
                  <a:srgbClr val="1A1A1A"/>
                </a:solidFill>
                <a:effectLst/>
                <a:uLnTx/>
                <a:uFillTx/>
                <a:latin typeface="Segoe UI"/>
                <a:ea typeface="+mn-ea"/>
                <a:cs typeface="+mn-cs"/>
              </a:rPr>
              <a:t>VMs</a:t>
            </a:r>
            <a:br>
              <a:rPr kumimoji="0" lang="en-US" sz="1400" b="0" i="0" u="none" strike="noStrike" kern="1200" cap="none" spc="0" normalizeH="0" baseline="0" noProof="0" dirty="0">
                <a:ln>
                  <a:noFill/>
                </a:ln>
                <a:solidFill>
                  <a:srgbClr val="1A1A1A"/>
                </a:solidFill>
                <a:effectLst/>
                <a:uLnTx/>
                <a:uFillTx/>
                <a:latin typeface="Segoe UI"/>
                <a:ea typeface="+mn-ea"/>
                <a:cs typeface="Segoe UI"/>
              </a:rPr>
            </a:br>
            <a:endPar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a:ea typeface="+mn-ea"/>
                <a:cs typeface="+mn-cs"/>
              </a:rPr>
              <a:t>IT admins can:</a:t>
            </a:r>
          </a:p>
          <a:p>
            <a:pPr marL="342900" marR="0" lvl="0" indent="-342900"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Publish remote desktops and apps to end users from pools of single or multi-session Windows 10 Enterprise VMs in Azure</a:t>
            </a:r>
          </a:p>
          <a:p>
            <a:pPr marL="335915" marR="0" lvl="0" indent="-33591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Manage and troubleshoot connections between RD Clients and Windows virtual machines</a:t>
            </a:r>
            <a:endPar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a:ea typeface="+mn-ea"/>
                <a:cs typeface="+mn-cs"/>
              </a:rPr>
              <a:t>End users can:</a:t>
            </a:r>
          </a:p>
          <a:p>
            <a:pPr marL="335915" marR="0" lvl="0" indent="-33591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Connect to Windows desktops and applications from their favorite client device from anywhere on the internet</a:t>
            </a:r>
            <a:endParaRPr kumimoji="0" lang="en-US" sz="1400" b="0" i="0" u="none" strike="noStrike" kern="1200" cap="none" spc="0" normalizeH="0" baseline="0" noProof="0" dirty="0">
              <a:ln>
                <a:noFill/>
              </a:ln>
              <a:solidFill>
                <a:srgbClr val="1A1A1A"/>
              </a:solidFill>
              <a:effectLst/>
              <a:uLnTx/>
              <a:uFillTx/>
              <a:latin typeface="Segoe UI"/>
              <a:ea typeface="+mn-ea"/>
              <a:cs typeface="Segoe UI"/>
            </a:endParaRPr>
          </a:p>
        </p:txBody>
      </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124" name="Right Bracket 123">
            <a:extLst>
              <a:ext uri="{FF2B5EF4-FFF2-40B4-BE49-F238E27FC236}">
                <a16:creationId xmlns:a16="http://schemas.microsoft.com/office/drawing/2014/main" id="{CE9A7E8A-2639-4713-9FF9-3F646AD53F5D}"/>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291107" y="4699961"/>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291107" y="3834996"/>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4148" y="5670402"/>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7787505" y="4694971"/>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103714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3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3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2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17">
                                            <p:txEl>
                                              <p:pRg st="1" end="1"/>
                                            </p:txEl>
                                          </p:spTgt>
                                        </p:tgtEl>
                                        <p:attrNameLst>
                                          <p:attrName>style.visibility</p:attrName>
                                        </p:attrNameLst>
                                      </p:cBhvr>
                                      <p:to>
                                        <p:strVal val="visible"/>
                                      </p:to>
                                    </p:set>
                                  </p:childTnLst>
                                </p:cTn>
                              </p:par>
                              <p:par>
                                <p:cTn id="61" presetID="10" presetClass="entr" presetSubtype="0" fill="hold" nodeType="withEffect">
                                  <p:stCondLst>
                                    <p:cond delay="0"/>
                                  </p:stCondLst>
                                  <p:childTnLst>
                                    <p:set>
                                      <p:cBhvr>
                                        <p:cTn id="62" dur="1" fill="hold">
                                          <p:stCondLst>
                                            <p:cond delay="0"/>
                                          </p:stCondLst>
                                        </p:cTn>
                                        <p:tgtEl>
                                          <p:spTgt spid="217">
                                            <p:txEl>
                                              <p:pRg st="2" end="2"/>
                                            </p:txEl>
                                          </p:spTgt>
                                        </p:tgtEl>
                                        <p:attrNameLst>
                                          <p:attrName>style.visibility</p:attrName>
                                        </p:attrNameLst>
                                      </p:cBhvr>
                                      <p:to>
                                        <p:strVal val="visible"/>
                                      </p:to>
                                    </p:set>
                                    <p:animEffect transition="in" filter="fade">
                                      <p:cBhvr>
                                        <p:cTn id="63" dur="500"/>
                                        <p:tgtEl>
                                          <p:spTgt spid="217">
                                            <p:txEl>
                                              <p:pRg st="2" end="2"/>
                                            </p:txEl>
                                          </p:spTgt>
                                        </p:tgtEl>
                                      </p:cBhvr>
                                    </p:animEffect>
                                  </p:childTnLst>
                                </p:cTn>
                              </p:par>
                              <p:par>
                                <p:cTn id="64" presetID="10" presetClass="entr" presetSubtype="0" fill="hold" nodeType="withEffect">
                                  <p:stCondLst>
                                    <p:cond delay="0"/>
                                  </p:stCondLst>
                                  <p:childTnLst>
                                    <p:set>
                                      <p:cBhvr>
                                        <p:cTn id="65" dur="1" fill="hold">
                                          <p:stCondLst>
                                            <p:cond delay="0"/>
                                          </p:stCondLst>
                                        </p:cTn>
                                        <p:tgtEl>
                                          <p:spTgt spid="217">
                                            <p:txEl>
                                              <p:pRg st="3" end="3"/>
                                            </p:txEl>
                                          </p:spTgt>
                                        </p:tgtEl>
                                        <p:attrNameLst>
                                          <p:attrName>style.visibility</p:attrName>
                                        </p:attrNameLst>
                                      </p:cBhvr>
                                      <p:to>
                                        <p:strVal val="visible"/>
                                      </p:to>
                                    </p:set>
                                    <p:animEffect transition="in" filter="fade">
                                      <p:cBhvr>
                                        <p:cTn id="66" dur="500"/>
                                        <p:tgtEl>
                                          <p:spTgt spid="217">
                                            <p:txEl>
                                              <p:pRg st="3" end="3"/>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217">
                                            <p:txEl>
                                              <p:pRg st="4" end="4"/>
                                            </p:txEl>
                                          </p:spTgt>
                                        </p:tgtEl>
                                        <p:attrNameLst>
                                          <p:attrName>style.visibility</p:attrName>
                                        </p:attrNameLst>
                                      </p:cBhvr>
                                      <p:to>
                                        <p:strVal val="visible"/>
                                      </p:to>
                                    </p:set>
                                    <p:animEffect transition="in" filter="fade">
                                      <p:cBhvr>
                                        <p:cTn id="71" dur="500"/>
                                        <p:tgtEl>
                                          <p:spTgt spid="217">
                                            <p:txEl>
                                              <p:pRg st="4" end="4"/>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217">
                                            <p:txEl>
                                              <p:pRg st="5" end="5"/>
                                            </p:txEl>
                                          </p:spTgt>
                                        </p:tgtEl>
                                        <p:attrNameLst>
                                          <p:attrName>style.visibility</p:attrName>
                                        </p:attrNameLst>
                                      </p:cBhvr>
                                      <p:to>
                                        <p:strVal val="visible"/>
                                      </p:to>
                                    </p:set>
                                    <p:animEffect transition="in" filter="fade">
                                      <p:cBhvr>
                                        <p:cTn id="74" dur="500"/>
                                        <p:tgtEl>
                                          <p:spTgt spid="21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9" grpId="0" animBg="1"/>
      <p:bldP spid="231" grpId="0" animBg="1"/>
      <p:bldP spid="129" grpId="0" animBg="1"/>
      <p:bldP spid="130" grpId="0" animBg="1"/>
      <p:bldP spid="92" grpId="0"/>
      <p:bldP spid="168" grpId="0"/>
      <p:bldP spid="124" grpId="0" animBg="1"/>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Azure AD Authentication</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09575" y="1087793"/>
            <a:ext cx="10712148" cy="1179132"/>
          </a:xfrm>
          <a:prstGeom prst="rect">
            <a:avLst/>
          </a:prstGeom>
          <a:noFill/>
        </p:spPr>
        <p:txBody>
          <a:bodyPr wrap="square" lIns="179285" tIns="143428" rIns="179285" bIns="143428" rtlCol="0" anchor="t">
            <a:spAutoFit/>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RD clients authenticate with Azure Active Directory (AD)</a:t>
            </a: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Enables Azure AD security features, such as Conditional Access, Multi-factor Authentication, and Intelligent Security Graph</a:t>
            </a:r>
            <a:endParaRPr kumimoji="0" lang="en-US" sz="14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Maintains app compatibility in the customer’s environment where Windows VMs are AD domain-joined</a:t>
            </a:r>
          </a:p>
        </p:txBody>
      </p:sp>
      <p:sp>
        <p:nvSpPr>
          <p:cNvPr id="319" name="Rectangle 318">
            <a:extLst>
              <a:ext uri="{FF2B5EF4-FFF2-40B4-BE49-F238E27FC236}">
                <a16:creationId xmlns:a16="http://schemas.microsoft.com/office/drawing/2014/main" id="{E5FB1817-C920-451E-928E-74E38419F263}"/>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320" name="Rectangle 319">
            <a:extLst>
              <a:ext uri="{FF2B5EF4-FFF2-40B4-BE49-F238E27FC236}">
                <a16:creationId xmlns:a16="http://schemas.microsoft.com/office/drawing/2014/main" id="{ECD39D9A-4249-4444-8C9E-23A003B313AA}"/>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21" name="Group 320">
            <a:extLst>
              <a:ext uri="{FF2B5EF4-FFF2-40B4-BE49-F238E27FC236}">
                <a16:creationId xmlns:a16="http://schemas.microsoft.com/office/drawing/2014/main" id="{10848369-1DD0-4675-A476-06FF6EEE9354}"/>
              </a:ext>
            </a:extLst>
          </p:cNvPr>
          <p:cNvGrpSpPr/>
          <p:nvPr/>
        </p:nvGrpSpPr>
        <p:grpSpPr>
          <a:xfrm>
            <a:off x="2842651" y="2659786"/>
            <a:ext cx="187578" cy="3738194"/>
            <a:chOff x="2849277" y="1648178"/>
            <a:chExt cx="187578" cy="3738194"/>
          </a:xfrm>
        </p:grpSpPr>
        <p:cxnSp>
          <p:nvCxnSpPr>
            <p:cNvPr id="322" name="Straight Connector 321">
              <a:extLst>
                <a:ext uri="{FF2B5EF4-FFF2-40B4-BE49-F238E27FC236}">
                  <a16:creationId xmlns:a16="http://schemas.microsoft.com/office/drawing/2014/main" id="{3D9DAF0E-9759-4DFD-B4DE-ECC598799CD0}"/>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23" name="Rectangle 322">
              <a:extLst>
                <a:ext uri="{FF2B5EF4-FFF2-40B4-BE49-F238E27FC236}">
                  <a16:creationId xmlns:a16="http://schemas.microsoft.com/office/drawing/2014/main" id="{6347A6E8-8CB6-4AA8-AD10-5CEE90E4532E}"/>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24" name="Group 323">
            <a:extLst>
              <a:ext uri="{FF2B5EF4-FFF2-40B4-BE49-F238E27FC236}">
                <a16:creationId xmlns:a16="http://schemas.microsoft.com/office/drawing/2014/main" id="{0916DDDE-A7B1-44F3-850F-741CC0015498}"/>
              </a:ext>
            </a:extLst>
          </p:cNvPr>
          <p:cNvGrpSpPr/>
          <p:nvPr/>
        </p:nvGrpSpPr>
        <p:grpSpPr>
          <a:xfrm>
            <a:off x="7031995" y="2755616"/>
            <a:ext cx="155930" cy="3691795"/>
            <a:chOff x="2849277" y="128295"/>
            <a:chExt cx="187578" cy="5258077"/>
          </a:xfrm>
        </p:grpSpPr>
        <p:cxnSp>
          <p:nvCxnSpPr>
            <p:cNvPr id="325" name="Straight Connector 324">
              <a:extLst>
                <a:ext uri="{FF2B5EF4-FFF2-40B4-BE49-F238E27FC236}">
                  <a16:creationId xmlns:a16="http://schemas.microsoft.com/office/drawing/2014/main" id="{DAB192C3-A6A0-4829-ABB3-B651C77D7CD7}"/>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26" name="Rectangle 325">
              <a:extLst>
                <a:ext uri="{FF2B5EF4-FFF2-40B4-BE49-F238E27FC236}">
                  <a16:creationId xmlns:a16="http://schemas.microsoft.com/office/drawing/2014/main" id="{B3868662-BBD7-44AC-A197-0AA02C29A30A}"/>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7" name="Rectangle 326">
            <a:extLst>
              <a:ext uri="{FF2B5EF4-FFF2-40B4-BE49-F238E27FC236}">
                <a16:creationId xmlns:a16="http://schemas.microsoft.com/office/drawing/2014/main" id="{01575A1D-1CD7-4347-9896-665CE3D5EABD}"/>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328" name="Rectangle 327">
            <a:extLst>
              <a:ext uri="{FF2B5EF4-FFF2-40B4-BE49-F238E27FC236}">
                <a16:creationId xmlns:a16="http://schemas.microsoft.com/office/drawing/2014/main" id="{4DC86153-8B71-49CC-AC98-A1547ED754B9}"/>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329" name="Group 328">
            <a:extLst>
              <a:ext uri="{FF2B5EF4-FFF2-40B4-BE49-F238E27FC236}">
                <a16:creationId xmlns:a16="http://schemas.microsoft.com/office/drawing/2014/main" id="{CA9C8551-BB95-47E9-B903-7510DDD2934C}"/>
              </a:ext>
            </a:extLst>
          </p:cNvPr>
          <p:cNvGrpSpPr/>
          <p:nvPr/>
        </p:nvGrpSpPr>
        <p:grpSpPr>
          <a:xfrm>
            <a:off x="4994175" y="3834996"/>
            <a:ext cx="1703068" cy="587682"/>
            <a:chOff x="4908037" y="3834996"/>
            <a:chExt cx="1703068" cy="587682"/>
          </a:xfrm>
        </p:grpSpPr>
        <p:sp>
          <p:nvSpPr>
            <p:cNvPr id="330" name="Rectangle: Rounded Corners 329">
              <a:extLst>
                <a:ext uri="{FF2B5EF4-FFF2-40B4-BE49-F238E27FC236}">
                  <a16:creationId xmlns:a16="http://schemas.microsoft.com/office/drawing/2014/main" id="{4639335E-7CDC-4919-8CE1-C4797334A94F}"/>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1" name="Rectangle: Rounded Corners 330">
              <a:extLst>
                <a:ext uri="{FF2B5EF4-FFF2-40B4-BE49-F238E27FC236}">
                  <a16:creationId xmlns:a16="http://schemas.microsoft.com/office/drawing/2014/main" id="{76E7615C-7C4F-4C01-88A7-BAF7EF13B302}"/>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2" name="Rectangle: Rounded Corners 331">
              <a:extLst>
                <a:ext uri="{FF2B5EF4-FFF2-40B4-BE49-F238E27FC236}">
                  <a16:creationId xmlns:a16="http://schemas.microsoft.com/office/drawing/2014/main" id="{A8B2B685-8D4C-416C-8382-591EF37F4C4C}"/>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333" name="algorithm" title="Icon of a heartbeat">
              <a:extLst>
                <a:ext uri="{FF2B5EF4-FFF2-40B4-BE49-F238E27FC236}">
                  <a16:creationId xmlns:a16="http://schemas.microsoft.com/office/drawing/2014/main" id="{0B57F831-B778-4D4F-9A37-DEE2C0A918A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4001FEEB-77B3-41F7-9D7E-3F1445865958}"/>
              </a:ext>
            </a:extLst>
          </p:cNvPr>
          <p:cNvGrpSpPr/>
          <p:nvPr/>
        </p:nvGrpSpPr>
        <p:grpSpPr>
          <a:xfrm>
            <a:off x="4994175" y="4699961"/>
            <a:ext cx="1703068" cy="587682"/>
            <a:chOff x="4908037" y="4699961"/>
            <a:chExt cx="1703068" cy="587682"/>
          </a:xfrm>
        </p:grpSpPr>
        <p:sp>
          <p:nvSpPr>
            <p:cNvPr id="335" name="Rectangle: Rounded Corners 334">
              <a:extLst>
                <a:ext uri="{FF2B5EF4-FFF2-40B4-BE49-F238E27FC236}">
                  <a16:creationId xmlns:a16="http://schemas.microsoft.com/office/drawing/2014/main" id="{EF46D2B0-1C15-43F4-9122-DCFBD6F5153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6" name="Rectangle: Rounded Corners 335">
              <a:extLst>
                <a:ext uri="{FF2B5EF4-FFF2-40B4-BE49-F238E27FC236}">
                  <a16:creationId xmlns:a16="http://schemas.microsoft.com/office/drawing/2014/main" id="{95A49529-CE1B-4B63-8CBB-BFBA5D5F6D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7" name="Rectangle: Rounded Corners 336">
              <a:extLst>
                <a:ext uri="{FF2B5EF4-FFF2-40B4-BE49-F238E27FC236}">
                  <a16:creationId xmlns:a16="http://schemas.microsoft.com/office/drawing/2014/main" id="{74D12388-A61C-4D95-8E27-04E637BE46C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338" name="Straight Connector 337">
              <a:extLst>
                <a:ext uri="{FF2B5EF4-FFF2-40B4-BE49-F238E27FC236}">
                  <a16:creationId xmlns:a16="http://schemas.microsoft.com/office/drawing/2014/main" id="{028CCE50-994E-4BE9-A786-8F828418C5AF}"/>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05D8A93B-A942-4285-A39B-5BB9D574D7A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276EA019-88CC-4863-B06F-0451A37E0D80}"/>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41" name="Rectangle 340">
            <a:extLst>
              <a:ext uri="{FF2B5EF4-FFF2-40B4-BE49-F238E27FC236}">
                <a16:creationId xmlns:a16="http://schemas.microsoft.com/office/drawing/2014/main" id="{173F2EB9-FC43-42D6-9731-F58840397731}"/>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343" name="Group 342">
            <a:extLst>
              <a:ext uri="{FF2B5EF4-FFF2-40B4-BE49-F238E27FC236}">
                <a16:creationId xmlns:a16="http://schemas.microsoft.com/office/drawing/2014/main" id="{D788EB29-BA7A-4AE8-ACBF-67095C332067}"/>
              </a:ext>
            </a:extLst>
          </p:cNvPr>
          <p:cNvGrpSpPr/>
          <p:nvPr/>
        </p:nvGrpSpPr>
        <p:grpSpPr>
          <a:xfrm>
            <a:off x="7334706" y="3288329"/>
            <a:ext cx="378819" cy="378819"/>
            <a:chOff x="5564119" y="2081144"/>
            <a:chExt cx="501718" cy="501718"/>
          </a:xfrm>
        </p:grpSpPr>
        <p:sp>
          <p:nvSpPr>
            <p:cNvPr id="344" name="Diamond 343">
              <a:extLst>
                <a:ext uri="{FF2B5EF4-FFF2-40B4-BE49-F238E27FC236}">
                  <a16:creationId xmlns:a16="http://schemas.microsoft.com/office/drawing/2014/main" id="{5FAD8043-461B-4D6C-9936-D6BC888C107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45" name="Graphic 344">
              <a:extLst>
                <a:ext uri="{FF2B5EF4-FFF2-40B4-BE49-F238E27FC236}">
                  <a16:creationId xmlns:a16="http://schemas.microsoft.com/office/drawing/2014/main" id="{F70A4632-74A0-4DBE-AAEB-87ACE81418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346" name="Group 345">
            <a:extLst>
              <a:ext uri="{FF2B5EF4-FFF2-40B4-BE49-F238E27FC236}">
                <a16:creationId xmlns:a16="http://schemas.microsoft.com/office/drawing/2014/main" id="{51F33704-77F3-4EDA-895E-46249D437167}"/>
              </a:ext>
            </a:extLst>
          </p:cNvPr>
          <p:cNvGrpSpPr/>
          <p:nvPr/>
        </p:nvGrpSpPr>
        <p:grpSpPr>
          <a:xfrm>
            <a:off x="7787505" y="3882836"/>
            <a:ext cx="3406136" cy="587682"/>
            <a:chOff x="3519131" y="2542018"/>
            <a:chExt cx="3406136" cy="587682"/>
          </a:xfrm>
        </p:grpSpPr>
        <p:grpSp>
          <p:nvGrpSpPr>
            <p:cNvPr id="347" name="Group 346">
              <a:extLst>
                <a:ext uri="{FF2B5EF4-FFF2-40B4-BE49-F238E27FC236}">
                  <a16:creationId xmlns:a16="http://schemas.microsoft.com/office/drawing/2014/main" id="{D1CEFFCE-1D55-4391-B00D-5D9FE467838B}"/>
                </a:ext>
              </a:extLst>
            </p:cNvPr>
            <p:cNvGrpSpPr/>
            <p:nvPr/>
          </p:nvGrpSpPr>
          <p:grpSpPr>
            <a:xfrm>
              <a:off x="3519131" y="2542018"/>
              <a:ext cx="3334218" cy="498768"/>
              <a:chOff x="7837970" y="2542018"/>
              <a:chExt cx="3334218" cy="498768"/>
            </a:xfrm>
          </p:grpSpPr>
          <p:sp>
            <p:nvSpPr>
              <p:cNvPr id="354" name="Rectangle: Rounded Corners 353">
                <a:extLst>
                  <a:ext uri="{FF2B5EF4-FFF2-40B4-BE49-F238E27FC236}">
                    <a16:creationId xmlns:a16="http://schemas.microsoft.com/office/drawing/2014/main" id="{A9F92BFE-CA8E-4A42-8E69-2B8D13FF0CD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5" name="Rectangle: Rounded Corners 354">
                <a:extLst>
                  <a:ext uri="{FF2B5EF4-FFF2-40B4-BE49-F238E27FC236}">
                    <a16:creationId xmlns:a16="http://schemas.microsoft.com/office/drawing/2014/main" id="{AD15F6D2-49A6-4D87-A531-8DE1C052319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48" name="Group 347">
              <a:extLst>
                <a:ext uri="{FF2B5EF4-FFF2-40B4-BE49-F238E27FC236}">
                  <a16:creationId xmlns:a16="http://schemas.microsoft.com/office/drawing/2014/main" id="{C73A5D75-30F7-48B7-A4E5-2D3103DF5622}"/>
                </a:ext>
              </a:extLst>
            </p:cNvPr>
            <p:cNvGrpSpPr/>
            <p:nvPr/>
          </p:nvGrpSpPr>
          <p:grpSpPr>
            <a:xfrm>
              <a:off x="3555090" y="2586475"/>
              <a:ext cx="3334218" cy="498768"/>
              <a:chOff x="7837970" y="2542018"/>
              <a:chExt cx="3334218" cy="498768"/>
            </a:xfrm>
          </p:grpSpPr>
          <p:sp>
            <p:nvSpPr>
              <p:cNvPr id="352" name="Rectangle: Rounded Corners 351">
                <a:extLst>
                  <a:ext uri="{FF2B5EF4-FFF2-40B4-BE49-F238E27FC236}">
                    <a16:creationId xmlns:a16="http://schemas.microsoft.com/office/drawing/2014/main" id="{565EADF8-C06E-4B0B-BDD5-3F0E3795AD4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3" name="Rectangle: Rounded Corners 352">
                <a:extLst>
                  <a:ext uri="{FF2B5EF4-FFF2-40B4-BE49-F238E27FC236}">
                    <a16:creationId xmlns:a16="http://schemas.microsoft.com/office/drawing/2014/main" id="{24587322-51A4-4553-A58A-1AAE6AE1B86F}"/>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49" name="Group 348">
              <a:extLst>
                <a:ext uri="{FF2B5EF4-FFF2-40B4-BE49-F238E27FC236}">
                  <a16:creationId xmlns:a16="http://schemas.microsoft.com/office/drawing/2014/main" id="{F83D7A22-CF46-4737-A1EB-0EB0A08C5020}"/>
                </a:ext>
              </a:extLst>
            </p:cNvPr>
            <p:cNvGrpSpPr/>
            <p:nvPr/>
          </p:nvGrpSpPr>
          <p:grpSpPr>
            <a:xfrm>
              <a:off x="3591049" y="2630932"/>
              <a:ext cx="3334218" cy="498768"/>
              <a:chOff x="7837970" y="2542018"/>
              <a:chExt cx="3334218" cy="498768"/>
            </a:xfrm>
          </p:grpSpPr>
          <p:sp>
            <p:nvSpPr>
              <p:cNvPr id="350" name="Rectangle: Rounded Corners 349">
                <a:extLst>
                  <a:ext uri="{FF2B5EF4-FFF2-40B4-BE49-F238E27FC236}">
                    <a16:creationId xmlns:a16="http://schemas.microsoft.com/office/drawing/2014/main" id="{817F203C-6F49-425C-A2C1-E3D80A7D1F0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351" name="Rectangle: Rounded Corners 350">
                <a:extLst>
                  <a:ext uri="{FF2B5EF4-FFF2-40B4-BE49-F238E27FC236}">
                    <a16:creationId xmlns:a16="http://schemas.microsoft.com/office/drawing/2014/main" id="{858FB210-D2EE-4E15-A54D-ED33DD59AF4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360" name="desktop" title="a desktop PC">
            <a:extLst>
              <a:ext uri="{FF2B5EF4-FFF2-40B4-BE49-F238E27FC236}">
                <a16:creationId xmlns:a16="http://schemas.microsoft.com/office/drawing/2014/main" id="{7CA53217-8A00-4C4E-8589-E92246BBDBD5}"/>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GenericApp_EB3B" title="Icon of an app window">
            <a:extLst>
              <a:ext uri="{FF2B5EF4-FFF2-40B4-BE49-F238E27FC236}">
                <a16:creationId xmlns:a16="http://schemas.microsoft.com/office/drawing/2014/main" id="{FC005AA6-88A9-47D9-8311-47642CEDF13A}"/>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366" name="Group 365">
            <a:extLst>
              <a:ext uri="{FF2B5EF4-FFF2-40B4-BE49-F238E27FC236}">
                <a16:creationId xmlns:a16="http://schemas.microsoft.com/office/drawing/2014/main" id="{F348889A-A945-4BE5-9C52-835A29AF27A5}"/>
              </a:ext>
            </a:extLst>
          </p:cNvPr>
          <p:cNvGrpSpPr/>
          <p:nvPr/>
        </p:nvGrpSpPr>
        <p:grpSpPr>
          <a:xfrm>
            <a:off x="9293160" y="4013418"/>
            <a:ext cx="1846543" cy="154356"/>
            <a:chOff x="9293160" y="2701454"/>
            <a:chExt cx="1846543" cy="154356"/>
          </a:xfrm>
        </p:grpSpPr>
        <p:sp>
          <p:nvSpPr>
            <p:cNvPr id="367" name="Oval 366">
              <a:extLst>
                <a:ext uri="{FF2B5EF4-FFF2-40B4-BE49-F238E27FC236}">
                  <a16:creationId xmlns:a16="http://schemas.microsoft.com/office/drawing/2014/main" id="{F5E222C7-AC01-4C21-9127-B7CCB38885E1}"/>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368" name="Oval 367">
              <a:extLst>
                <a:ext uri="{FF2B5EF4-FFF2-40B4-BE49-F238E27FC236}">
                  <a16:creationId xmlns:a16="http://schemas.microsoft.com/office/drawing/2014/main" id="{FF53AD29-D2CE-4F02-B3EB-BF069CF92F19}"/>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369" name="Group 368">
            <a:extLst>
              <a:ext uri="{FF2B5EF4-FFF2-40B4-BE49-F238E27FC236}">
                <a16:creationId xmlns:a16="http://schemas.microsoft.com/office/drawing/2014/main" id="{41FEB723-D8B7-4E7F-9F57-D972A602E7C6}"/>
              </a:ext>
            </a:extLst>
          </p:cNvPr>
          <p:cNvGrpSpPr/>
          <p:nvPr/>
        </p:nvGrpSpPr>
        <p:grpSpPr>
          <a:xfrm>
            <a:off x="899303" y="3341056"/>
            <a:ext cx="1626420" cy="2908602"/>
            <a:chOff x="899303" y="2229846"/>
            <a:chExt cx="1626420" cy="2908602"/>
          </a:xfrm>
        </p:grpSpPr>
        <p:sp>
          <p:nvSpPr>
            <p:cNvPr id="370" name="Oval 369">
              <a:extLst>
                <a:ext uri="{FF2B5EF4-FFF2-40B4-BE49-F238E27FC236}">
                  <a16:creationId xmlns:a16="http://schemas.microsoft.com/office/drawing/2014/main" id="{E577C227-D58D-4D64-93D2-8A668FE29C8F}"/>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71" name="Oval 370">
              <a:extLst>
                <a:ext uri="{FF2B5EF4-FFF2-40B4-BE49-F238E27FC236}">
                  <a16:creationId xmlns:a16="http://schemas.microsoft.com/office/drawing/2014/main" id="{61989BF8-34C9-42C6-B441-D2156D7D1DAD}"/>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72" name="Oval 371">
              <a:extLst>
                <a:ext uri="{FF2B5EF4-FFF2-40B4-BE49-F238E27FC236}">
                  <a16:creationId xmlns:a16="http://schemas.microsoft.com/office/drawing/2014/main" id="{F525C6DA-0BDE-4E56-8263-C98D1CBCEFF7}"/>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373" name="Group 372">
              <a:extLst>
                <a:ext uri="{FF2B5EF4-FFF2-40B4-BE49-F238E27FC236}">
                  <a16:creationId xmlns:a16="http://schemas.microsoft.com/office/drawing/2014/main" id="{EFDEF32A-B434-421E-A18C-906E54B7924F}"/>
                </a:ext>
              </a:extLst>
            </p:cNvPr>
            <p:cNvGrpSpPr/>
            <p:nvPr/>
          </p:nvGrpSpPr>
          <p:grpSpPr>
            <a:xfrm>
              <a:off x="2043658" y="2532747"/>
              <a:ext cx="482065" cy="2255907"/>
              <a:chOff x="2224274" y="2338191"/>
              <a:chExt cx="482065" cy="2255907"/>
            </a:xfrm>
          </p:grpSpPr>
          <p:grpSp>
            <p:nvGrpSpPr>
              <p:cNvPr id="377" name="Group 376">
                <a:extLst>
                  <a:ext uri="{FF2B5EF4-FFF2-40B4-BE49-F238E27FC236}">
                    <a16:creationId xmlns:a16="http://schemas.microsoft.com/office/drawing/2014/main" id="{9452132E-9434-4B38-BC7F-735C12589906}"/>
                  </a:ext>
                </a:extLst>
              </p:cNvPr>
              <p:cNvGrpSpPr/>
              <p:nvPr/>
            </p:nvGrpSpPr>
            <p:grpSpPr>
              <a:xfrm>
                <a:off x="2281302" y="3639439"/>
                <a:ext cx="319498" cy="414180"/>
                <a:chOff x="5866856" y="4829242"/>
                <a:chExt cx="702675" cy="865083"/>
              </a:xfrm>
            </p:grpSpPr>
            <p:sp>
              <p:nvSpPr>
                <p:cNvPr id="385" name="Freeform 12">
                  <a:extLst>
                    <a:ext uri="{FF2B5EF4-FFF2-40B4-BE49-F238E27FC236}">
                      <a16:creationId xmlns:a16="http://schemas.microsoft.com/office/drawing/2014/main" id="{0F322F1F-905B-4986-A73F-430AB59E6D46}"/>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386" name="Freeform 13">
                  <a:extLst>
                    <a:ext uri="{FF2B5EF4-FFF2-40B4-BE49-F238E27FC236}">
                      <a16:creationId xmlns:a16="http://schemas.microsoft.com/office/drawing/2014/main" id="{3AD707C4-0141-4923-AC89-08C39D7AB8F7}"/>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78" name="Group 377">
                <a:extLst>
                  <a:ext uri="{FF2B5EF4-FFF2-40B4-BE49-F238E27FC236}">
                    <a16:creationId xmlns:a16="http://schemas.microsoft.com/office/drawing/2014/main" id="{EC1F8285-ADFB-49AC-B66D-5289899C57E1}"/>
                  </a:ext>
                </a:extLst>
              </p:cNvPr>
              <p:cNvGrpSpPr/>
              <p:nvPr/>
            </p:nvGrpSpPr>
            <p:grpSpPr>
              <a:xfrm>
                <a:off x="2286418" y="3019895"/>
                <a:ext cx="335350" cy="419905"/>
                <a:chOff x="13987161" y="3323588"/>
                <a:chExt cx="2047876" cy="2435225"/>
              </a:xfrm>
              <a:solidFill>
                <a:schemeClr val="bg1"/>
              </a:solidFill>
            </p:grpSpPr>
            <p:sp>
              <p:nvSpPr>
                <p:cNvPr id="381" name="Freeform 50">
                  <a:extLst>
                    <a:ext uri="{FF2B5EF4-FFF2-40B4-BE49-F238E27FC236}">
                      <a16:creationId xmlns:a16="http://schemas.microsoft.com/office/drawing/2014/main" id="{3D0720DD-E922-4EE1-A089-F9666C48823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382" name="Freeform 51">
                  <a:extLst>
                    <a:ext uri="{FF2B5EF4-FFF2-40B4-BE49-F238E27FC236}">
                      <a16:creationId xmlns:a16="http://schemas.microsoft.com/office/drawing/2014/main" id="{F93AFB5B-73AA-458D-83E8-7457507798B8}"/>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383" name="Freeform 52">
                  <a:extLst>
                    <a:ext uri="{FF2B5EF4-FFF2-40B4-BE49-F238E27FC236}">
                      <a16:creationId xmlns:a16="http://schemas.microsoft.com/office/drawing/2014/main" id="{6DAABB3C-FC0C-4B12-8012-78133C3F3FBF}"/>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384" name="Freeform 53">
                  <a:extLst>
                    <a:ext uri="{FF2B5EF4-FFF2-40B4-BE49-F238E27FC236}">
                      <a16:creationId xmlns:a16="http://schemas.microsoft.com/office/drawing/2014/main" id="{FDF36078-4FC9-4D53-86D3-780B5BADC1FA}"/>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79" name="Picture 378">
                <a:extLst>
                  <a:ext uri="{FF2B5EF4-FFF2-40B4-BE49-F238E27FC236}">
                    <a16:creationId xmlns:a16="http://schemas.microsoft.com/office/drawing/2014/main" id="{A41CFE93-4624-4BDC-9714-E15604FDA97F}"/>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380" name="Picture 379">
                <a:extLst>
                  <a:ext uri="{FF2B5EF4-FFF2-40B4-BE49-F238E27FC236}">
                    <a16:creationId xmlns:a16="http://schemas.microsoft.com/office/drawing/2014/main" id="{C632CB04-F58A-4208-9A6F-DB3C04B6010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374" name="CellPhone_E8EA" title="Icon of a cellphone">
              <a:extLst>
                <a:ext uri="{FF2B5EF4-FFF2-40B4-BE49-F238E27FC236}">
                  <a16:creationId xmlns:a16="http://schemas.microsoft.com/office/drawing/2014/main" id="{2DD269E2-BE73-4309-97A2-0F5A304EF4DC}"/>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Laptop_E770" title="Icon of a laptop">
              <a:extLst>
                <a:ext uri="{FF2B5EF4-FFF2-40B4-BE49-F238E27FC236}">
                  <a16:creationId xmlns:a16="http://schemas.microsoft.com/office/drawing/2014/main" id="{75F9C39D-4403-464D-8F89-05EABE66A68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Tablet_E70A" title="Icon of a tablet">
              <a:extLst>
                <a:ext uri="{FF2B5EF4-FFF2-40B4-BE49-F238E27FC236}">
                  <a16:creationId xmlns:a16="http://schemas.microsoft.com/office/drawing/2014/main" id="{2985BA16-6986-4445-B3D9-6BE35B46F4E9}"/>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87" name="Rectangle: Rounded Corners 386">
            <a:extLst>
              <a:ext uri="{FF2B5EF4-FFF2-40B4-BE49-F238E27FC236}">
                <a16:creationId xmlns:a16="http://schemas.microsoft.com/office/drawing/2014/main" id="{ED9300C8-4CE1-45EE-80E4-E331B3FE76D2}"/>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388" name="Rectangle 387">
            <a:extLst>
              <a:ext uri="{FF2B5EF4-FFF2-40B4-BE49-F238E27FC236}">
                <a16:creationId xmlns:a16="http://schemas.microsoft.com/office/drawing/2014/main" id="{A2A929A6-E23B-4168-B67C-560BCD262A77}"/>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389" name="Right Bracket 388">
            <a:extLst>
              <a:ext uri="{FF2B5EF4-FFF2-40B4-BE49-F238E27FC236}">
                <a16:creationId xmlns:a16="http://schemas.microsoft.com/office/drawing/2014/main" id="{96C2E65F-E1B4-4AE1-A174-A7F7F2AD8173}"/>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390" name="Group 389">
            <a:extLst>
              <a:ext uri="{FF2B5EF4-FFF2-40B4-BE49-F238E27FC236}">
                <a16:creationId xmlns:a16="http://schemas.microsoft.com/office/drawing/2014/main" id="{C1198A54-D6DD-48C2-BCCD-85CDB23195AE}"/>
              </a:ext>
            </a:extLst>
          </p:cNvPr>
          <p:cNvGrpSpPr/>
          <p:nvPr/>
        </p:nvGrpSpPr>
        <p:grpSpPr>
          <a:xfrm>
            <a:off x="3291107" y="4699961"/>
            <a:ext cx="1703068" cy="587682"/>
            <a:chOff x="3204969" y="4699961"/>
            <a:chExt cx="1703068" cy="587682"/>
          </a:xfrm>
        </p:grpSpPr>
        <p:sp>
          <p:nvSpPr>
            <p:cNvPr id="391" name="Rectangle: Rounded Corners 390">
              <a:extLst>
                <a:ext uri="{FF2B5EF4-FFF2-40B4-BE49-F238E27FC236}">
                  <a16:creationId xmlns:a16="http://schemas.microsoft.com/office/drawing/2014/main" id="{3A559820-820E-4D42-B834-D8625CEE475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2" name="Rectangle: Rounded Corners 391">
              <a:extLst>
                <a:ext uri="{FF2B5EF4-FFF2-40B4-BE49-F238E27FC236}">
                  <a16:creationId xmlns:a16="http://schemas.microsoft.com/office/drawing/2014/main" id="{91E3B1AD-821F-4113-8CF0-CE972FB86F79}"/>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3" name="Rectangle: Rounded Corners 392">
              <a:extLst>
                <a:ext uri="{FF2B5EF4-FFF2-40B4-BE49-F238E27FC236}">
                  <a16:creationId xmlns:a16="http://schemas.microsoft.com/office/drawing/2014/main" id="{B59D032F-B48B-4074-BE86-7C7040E82E2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394" name="Move_E7C2" title="Icon of four arrows pointing away from eachother">
              <a:extLst>
                <a:ext uri="{FF2B5EF4-FFF2-40B4-BE49-F238E27FC236}">
                  <a16:creationId xmlns:a16="http://schemas.microsoft.com/office/drawing/2014/main" id="{56F2066F-313D-4DC3-9233-2D89ABD0FA68}"/>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A53092F5-8CA7-470A-A49F-914266758A56}"/>
              </a:ext>
            </a:extLst>
          </p:cNvPr>
          <p:cNvGrpSpPr/>
          <p:nvPr/>
        </p:nvGrpSpPr>
        <p:grpSpPr>
          <a:xfrm>
            <a:off x="3291107" y="3834996"/>
            <a:ext cx="1703068" cy="587682"/>
            <a:chOff x="3204969" y="3834996"/>
            <a:chExt cx="1703068" cy="587682"/>
          </a:xfrm>
        </p:grpSpPr>
        <p:sp>
          <p:nvSpPr>
            <p:cNvPr id="396" name="Rectangle: Rounded Corners 395">
              <a:extLst>
                <a:ext uri="{FF2B5EF4-FFF2-40B4-BE49-F238E27FC236}">
                  <a16:creationId xmlns:a16="http://schemas.microsoft.com/office/drawing/2014/main" id="{39412DB3-D937-4999-B0A6-B0222AE4E9E5}"/>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7" name="Rectangle: Rounded Corners 396">
              <a:extLst>
                <a:ext uri="{FF2B5EF4-FFF2-40B4-BE49-F238E27FC236}">
                  <a16:creationId xmlns:a16="http://schemas.microsoft.com/office/drawing/2014/main" id="{B25F79AA-9D05-4BA0-8D56-A260EC58DA77}"/>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8" name="Rectangle: Rounded Corners 397">
              <a:extLst>
                <a:ext uri="{FF2B5EF4-FFF2-40B4-BE49-F238E27FC236}">
                  <a16:creationId xmlns:a16="http://schemas.microsoft.com/office/drawing/2014/main" id="{7FD28BB3-D6BF-4D5C-B1A5-36A6D926492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399" name="globe_2" title="Icon of a sphere made of lines">
              <a:extLst>
                <a:ext uri="{FF2B5EF4-FFF2-40B4-BE49-F238E27FC236}">
                  <a16:creationId xmlns:a16="http://schemas.microsoft.com/office/drawing/2014/main" id="{53599FE9-5F3E-4319-9961-37892FCB988F}"/>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0D048A6C-8595-49CE-9AD2-B1ABAEE57C4A}"/>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401" name="Picture 2">
            <a:extLst>
              <a:ext uri="{FF2B5EF4-FFF2-40B4-BE49-F238E27FC236}">
                <a16:creationId xmlns:a16="http://schemas.microsoft.com/office/drawing/2014/main" id="{6E171F14-8329-4733-8211-DA6E4B6A2F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4148" y="5670402"/>
            <a:ext cx="399616" cy="422236"/>
          </a:xfrm>
          <a:prstGeom prst="rect">
            <a:avLst/>
          </a:prstGeom>
          <a:noFill/>
        </p:spPr>
      </p:pic>
      <p:grpSp>
        <p:nvGrpSpPr>
          <p:cNvPr id="6" name="Group 5">
            <a:extLst>
              <a:ext uri="{FF2B5EF4-FFF2-40B4-BE49-F238E27FC236}">
                <a16:creationId xmlns:a16="http://schemas.microsoft.com/office/drawing/2014/main" id="{B075A9EF-935B-477D-9449-CF4C5C67D9A5}"/>
              </a:ext>
            </a:extLst>
          </p:cNvPr>
          <p:cNvGrpSpPr/>
          <p:nvPr/>
        </p:nvGrpSpPr>
        <p:grpSpPr>
          <a:xfrm>
            <a:off x="2650409" y="3307647"/>
            <a:ext cx="4684297" cy="520099"/>
            <a:chOff x="2625569" y="3359354"/>
            <a:chExt cx="4684297" cy="520099"/>
          </a:xfrm>
        </p:grpSpPr>
        <p:cxnSp>
          <p:nvCxnSpPr>
            <p:cNvPr id="115" name="Straight Arrow Connector 114">
              <a:extLst>
                <a:ext uri="{FF2B5EF4-FFF2-40B4-BE49-F238E27FC236}">
                  <a16:creationId xmlns:a16="http://schemas.microsoft.com/office/drawing/2014/main" id="{E1007F93-7D29-490E-ABA0-7ECC7C25D692}"/>
                </a:ext>
              </a:extLst>
            </p:cNvPr>
            <p:cNvCxnSpPr>
              <a:cxnSpLocks/>
              <a:stCxn id="116"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A8C8D4C-1100-46D8-9545-5B5975E4BEF4}"/>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D671ABAC-C212-45AE-A5A8-76954771850C}"/>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grpSp>
        <p:nvGrpSpPr>
          <p:cNvPr id="91" name="Group 90">
            <a:extLst>
              <a:ext uri="{FF2B5EF4-FFF2-40B4-BE49-F238E27FC236}">
                <a16:creationId xmlns:a16="http://schemas.microsoft.com/office/drawing/2014/main" id="{F7E985BB-4BF9-43F8-9290-0C68F34F2BA5}"/>
              </a:ext>
            </a:extLst>
          </p:cNvPr>
          <p:cNvGrpSpPr/>
          <p:nvPr/>
        </p:nvGrpSpPr>
        <p:grpSpPr>
          <a:xfrm>
            <a:off x="7787505" y="4694971"/>
            <a:ext cx="3406136" cy="587682"/>
            <a:chOff x="7787505" y="5258366"/>
            <a:chExt cx="3406136" cy="587682"/>
          </a:xfrm>
        </p:grpSpPr>
        <p:grpSp>
          <p:nvGrpSpPr>
            <p:cNvPr id="92" name="Group 91">
              <a:extLst>
                <a:ext uri="{FF2B5EF4-FFF2-40B4-BE49-F238E27FC236}">
                  <a16:creationId xmlns:a16="http://schemas.microsoft.com/office/drawing/2014/main" id="{E3DA9E64-7F30-40AA-A6D1-08E8494C5278}"/>
                </a:ext>
              </a:extLst>
            </p:cNvPr>
            <p:cNvGrpSpPr/>
            <p:nvPr/>
          </p:nvGrpSpPr>
          <p:grpSpPr>
            <a:xfrm>
              <a:off x="7787505" y="5258366"/>
              <a:ext cx="3406136" cy="587682"/>
              <a:chOff x="3519131" y="2542018"/>
              <a:chExt cx="3406136" cy="587682"/>
            </a:xfrm>
          </p:grpSpPr>
          <p:grpSp>
            <p:nvGrpSpPr>
              <p:cNvPr id="99" name="Group 98">
                <a:extLst>
                  <a:ext uri="{FF2B5EF4-FFF2-40B4-BE49-F238E27FC236}">
                    <a16:creationId xmlns:a16="http://schemas.microsoft.com/office/drawing/2014/main" id="{A2240F9C-1C57-48F5-B978-745669BB6388}"/>
                  </a:ext>
                </a:extLst>
              </p:cNvPr>
              <p:cNvGrpSpPr/>
              <p:nvPr/>
            </p:nvGrpSpPr>
            <p:grpSpPr>
              <a:xfrm>
                <a:off x="3519131" y="2542018"/>
                <a:ext cx="3334218" cy="498768"/>
                <a:chOff x="7837970" y="2542018"/>
                <a:chExt cx="3334218" cy="498768"/>
              </a:xfrm>
            </p:grpSpPr>
            <p:sp>
              <p:nvSpPr>
                <p:cNvPr id="106" name="Rectangle: Rounded Corners 105">
                  <a:extLst>
                    <a:ext uri="{FF2B5EF4-FFF2-40B4-BE49-F238E27FC236}">
                      <a16:creationId xmlns:a16="http://schemas.microsoft.com/office/drawing/2014/main" id="{46FBB69A-4788-49F1-9C2C-8E492D2B352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7" name="Rectangle: Rounded Corners 106">
                  <a:extLst>
                    <a:ext uri="{FF2B5EF4-FFF2-40B4-BE49-F238E27FC236}">
                      <a16:creationId xmlns:a16="http://schemas.microsoft.com/office/drawing/2014/main" id="{9446F8F1-9AC6-421D-B47F-1F5DEEAB48FD}"/>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0" name="Group 99">
                <a:extLst>
                  <a:ext uri="{FF2B5EF4-FFF2-40B4-BE49-F238E27FC236}">
                    <a16:creationId xmlns:a16="http://schemas.microsoft.com/office/drawing/2014/main" id="{FC3149AA-C96D-49AE-B817-5884CAAF2D75}"/>
                  </a:ext>
                </a:extLst>
              </p:cNvPr>
              <p:cNvGrpSpPr/>
              <p:nvPr/>
            </p:nvGrpSpPr>
            <p:grpSpPr>
              <a:xfrm>
                <a:off x="3555090" y="2586475"/>
                <a:ext cx="3334218" cy="498768"/>
                <a:chOff x="7837970" y="2542018"/>
                <a:chExt cx="3334218" cy="498768"/>
              </a:xfrm>
            </p:grpSpPr>
            <p:sp>
              <p:nvSpPr>
                <p:cNvPr id="104" name="Rectangle: Rounded Corners 103">
                  <a:extLst>
                    <a:ext uri="{FF2B5EF4-FFF2-40B4-BE49-F238E27FC236}">
                      <a16:creationId xmlns:a16="http://schemas.microsoft.com/office/drawing/2014/main" id="{907BF9DC-8DFD-4E19-9068-F1CB629879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5" name="Rectangle: Rounded Corners 104">
                  <a:extLst>
                    <a:ext uri="{FF2B5EF4-FFF2-40B4-BE49-F238E27FC236}">
                      <a16:creationId xmlns:a16="http://schemas.microsoft.com/office/drawing/2014/main" id="{EE4D1AE1-24EA-41AD-980B-516EE43F9FA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1" name="Group 100">
                <a:extLst>
                  <a:ext uri="{FF2B5EF4-FFF2-40B4-BE49-F238E27FC236}">
                    <a16:creationId xmlns:a16="http://schemas.microsoft.com/office/drawing/2014/main" id="{4FA5D8EE-69F6-41A7-BF4C-718E8A157540}"/>
                  </a:ext>
                </a:extLst>
              </p:cNvPr>
              <p:cNvGrpSpPr/>
              <p:nvPr/>
            </p:nvGrpSpPr>
            <p:grpSpPr>
              <a:xfrm>
                <a:off x="3591049" y="2630932"/>
                <a:ext cx="3334218" cy="498768"/>
                <a:chOff x="7837970" y="2542018"/>
                <a:chExt cx="3334218" cy="498768"/>
              </a:xfrm>
            </p:grpSpPr>
            <p:sp>
              <p:nvSpPr>
                <p:cNvPr id="102" name="Rectangle: Rounded Corners 101">
                  <a:extLst>
                    <a:ext uri="{FF2B5EF4-FFF2-40B4-BE49-F238E27FC236}">
                      <a16:creationId xmlns:a16="http://schemas.microsoft.com/office/drawing/2014/main" id="{228D595C-4BE6-4A1F-9989-BC03CFAA222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03" name="Rectangle: Rounded Corners 102">
                  <a:extLst>
                    <a:ext uri="{FF2B5EF4-FFF2-40B4-BE49-F238E27FC236}">
                      <a16:creationId xmlns:a16="http://schemas.microsoft.com/office/drawing/2014/main" id="{3CF14685-2B57-4583-8C8F-58895AFE627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93" name="Group 92">
              <a:extLst>
                <a:ext uri="{FF2B5EF4-FFF2-40B4-BE49-F238E27FC236}">
                  <a16:creationId xmlns:a16="http://schemas.microsoft.com/office/drawing/2014/main" id="{5FF195D5-A989-45A4-9430-191078701B23}"/>
                </a:ext>
              </a:extLst>
            </p:cNvPr>
            <p:cNvGrpSpPr/>
            <p:nvPr/>
          </p:nvGrpSpPr>
          <p:grpSpPr>
            <a:xfrm>
              <a:off x="8883843" y="5370593"/>
              <a:ext cx="378819" cy="378819"/>
              <a:chOff x="5564119" y="2081144"/>
              <a:chExt cx="501718" cy="501718"/>
            </a:xfrm>
          </p:grpSpPr>
          <p:sp>
            <p:nvSpPr>
              <p:cNvPr id="97" name="Diamond 96">
                <a:extLst>
                  <a:ext uri="{FF2B5EF4-FFF2-40B4-BE49-F238E27FC236}">
                    <a16:creationId xmlns:a16="http://schemas.microsoft.com/office/drawing/2014/main" id="{2E5215BB-F677-453E-95DC-DD59E8751862}"/>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8" name="Graphic 97">
                <a:extLst>
                  <a:ext uri="{FF2B5EF4-FFF2-40B4-BE49-F238E27FC236}">
                    <a16:creationId xmlns:a16="http://schemas.microsoft.com/office/drawing/2014/main" id="{1B067AE2-8529-44FD-82AA-32CACCCA9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94" name="Group 93">
              <a:extLst>
                <a:ext uri="{FF2B5EF4-FFF2-40B4-BE49-F238E27FC236}">
                  <a16:creationId xmlns:a16="http://schemas.microsoft.com/office/drawing/2014/main" id="{2E0D2630-4410-4163-8DD8-2150082DDE2A}"/>
                </a:ext>
              </a:extLst>
            </p:cNvPr>
            <p:cNvGrpSpPr/>
            <p:nvPr/>
          </p:nvGrpSpPr>
          <p:grpSpPr>
            <a:xfrm>
              <a:off x="10569241" y="5402721"/>
              <a:ext cx="396950" cy="355079"/>
              <a:chOff x="10633596" y="3514287"/>
              <a:chExt cx="396950" cy="355079"/>
            </a:xfrm>
          </p:grpSpPr>
          <p:sp>
            <p:nvSpPr>
              <p:cNvPr id="95" name="Hexagon 94">
                <a:extLst>
                  <a:ext uri="{FF2B5EF4-FFF2-40B4-BE49-F238E27FC236}">
                    <a16:creationId xmlns:a16="http://schemas.microsoft.com/office/drawing/2014/main" id="{BE7CAC44-B204-4AC8-940E-EA69C95D4CA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96" name="Picture 95">
                <a:extLst>
                  <a:ext uri="{FF2B5EF4-FFF2-40B4-BE49-F238E27FC236}">
                    <a16:creationId xmlns:a16="http://schemas.microsoft.com/office/drawing/2014/main" id="{F7A192C1-6795-4AAF-8329-C0334597A6CD}"/>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797994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User Connection Flow</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61925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RD client which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RD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RD client connects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over connections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58"/>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500"/>
                                        <p:tgtEl>
                                          <p:spTgt spid="230"/>
                                        </p:tgtEl>
                                      </p:cBhvr>
                                    </p:animEffect>
                                  </p:childTnLst>
                                </p:cTn>
                              </p:par>
                              <p:par>
                                <p:cTn id="16" presetID="1" presetClass="entr" presetSubtype="0" fill="hold" nodeType="withEffect">
                                  <p:stCondLst>
                                    <p:cond delay="0"/>
                                  </p:stCondLst>
                                  <p:childTnLst>
                                    <p:set>
                                      <p:cBhvr>
                                        <p:cTn id="17"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230"/>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 presetClass="entr" presetSubtype="0" fill="hold" nodeType="withEffect">
                                  <p:stCondLst>
                                    <p:cond delay="0"/>
                                  </p:stCondLst>
                                  <p:childTnLst>
                                    <p:set>
                                      <p:cBhvr>
                                        <p:cTn id="26"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1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1000422"/>
            <a:ext cx="10823305" cy="1262231"/>
          </a:xfrm>
          <a:prstGeom prst="rect">
            <a:avLst/>
          </a:prstGeom>
          <a:noFill/>
        </p:spPr>
        <p:txBody>
          <a:bodyPr wrap="square" lIns="179285" tIns="143428" rIns="179285" bIns="143428" rtlCol="0" anchor="t">
            <a:spAutoFit/>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Outbound WebSocket connections from customer VMs to Broker and Gateway</a:t>
            </a: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Bidirectional communications between VMs and RD infra over https (443)</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No inbound ports need be opened to the customer environment</a:t>
            </a:r>
          </a:p>
        </p:txBody>
      </p:sp>
      <p:sp>
        <p:nvSpPr>
          <p:cNvPr id="93" name="Rectangle 92">
            <a:extLst>
              <a:ext uri="{FF2B5EF4-FFF2-40B4-BE49-F238E27FC236}">
                <a16:creationId xmlns:a16="http://schemas.microsoft.com/office/drawing/2014/main" id="{B798DDFE-9507-4B1E-934C-6B304F1AC0F1}"/>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94" name="Rectangle 93">
            <a:extLst>
              <a:ext uri="{FF2B5EF4-FFF2-40B4-BE49-F238E27FC236}">
                <a16:creationId xmlns:a16="http://schemas.microsoft.com/office/drawing/2014/main" id="{41A3B979-E3BB-4A33-A5D7-ED3B65D65982}"/>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95" name="Group 94">
            <a:extLst>
              <a:ext uri="{FF2B5EF4-FFF2-40B4-BE49-F238E27FC236}">
                <a16:creationId xmlns:a16="http://schemas.microsoft.com/office/drawing/2014/main" id="{AC93DDC8-465D-4E78-A8EB-A46973E1F127}"/>
              </a:ext>
            </a:extLst>
          </p:cNvPr>
          <p:cNvGrpSpPr/>
          <p:nvPr/>
        </p:nvGrpSpPr>
        <p:grpSpPr>
          <a:xfrm>
            <a:off x="2842651" y="2659786"/>
            <a:ext cx="187578" cy="3738194"/>
            <a:chOff x="2849277" y="1648178"/>
            <a:chExt cx="187578" cy="3738194"/>
          </a:xfrm>
        </p:grpSpPr>
        <p:cxnSp>
          <p:nvCxnSpPr>
            <p:cNvPr id="96" name="Straight Connector 95">
              <a:extLst>
                <a:ext uri="{FF2B5EF4-FFF2-40B4-BE49-F238E27FC236}">
                  <a16:creationId xmlns:a16="http://schemas.microsoft.com/office/drawing/2014/main" id="{0BE9FA82-D25A-43E6-A855-E707049C26C8}"/>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8" name="Rectangle 97">
              <a:extLst>
                <a:ext uri="{FF2B5EF4-FFF2-40B4-BE49-F238E27FC236}">
                  <a16:creationId xmlns:a16="http://schemas.microsoft.com/office/drawing/2014/main" id="{1E4B77AF-D734-40D8-BF6B-A163C68AD023}"/>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083A462D-6A6C-4A91-85E6-555164FE2B20}"/>
              </a:ext>
            </a:extLst>
          </p:cNvPr>
          <p:cNvGrpSpPr/>
          <p:nvPr/>
        </p:nvGrpSpPr>
        <p:grpSpPr>
          <a:xfrm>
            <a:off x="7031995" y="2755616"/>
            <a:ext cx="155930" cy="3691795"/>
            <a:chOff x="2849277" y="128295"/>
            <a:chExt cx="187578" cy="5258077"/>
          </a:xfrm>
        </p:grpSpPr>
        <p:cxnSp>
          <p:nvCxnSpPr>
            <p:cNvPr id="113" name="Straight Connector 112">
              <a:extLst>
                <a:ext uri="{FF2B5EF4-FFF2-40B4-BE49-F238E27FC236}">
                  <a16:creationId xmlns:a16="http://schemas.microsoft.com/office/drawing/2014/main" id="{53B6A387-28EC-4C5E-8ADF-0DE6A545699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4" name="Rectangle 113">
              <a:extLst>
                <a:ext uri="{FF2B5EF4-FFF2-40B4-BE49-F238E27FC236}">
                  <a16:creationId xmlns:a16="http://schemas.microsoft.com/office/drawing/2014/main" id="{950DD9A9-171E-49C6-B1BC-4789B3A7ACAA}"/>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28E6A583-0D60-4258-A45A-021E09D920F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16" name="Rectangle 115">
            <a:extLst>
              <a:ext uri="{FF2B5EF4-FFF2-40B4-BE49-F238E27FC236}">
                <a16:creationId xmlns:a16="http://schemas.microsoft.com/office/drawing/2014/main" id="{BB63350D-A5FF-4502-ABB6-EAA6234CBB3A}"/>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17" name="Group 116">
            <a:extLst>
              <a:ext uri="{FF2B5EF4-FFF2-40B4-BE49-F238E27FC236}">
                <a16:creationId xmlns:a16="http://schemas.microsoft.com/office/drawing/2014/main" id="{82CA2E0C-E1C7-445C-BD89-B7DCB62A50CF}"/>
              </a:ext>
            </a:extLst>
          </p:cNvPr>
          <p:cNvGrpSpPr/>
          <p:nvPr/>
        </p:nvGrpSpPr>
        <p:grpSpPr>
          <a:xfrm>
            <a:off x="4994175" y="3834996"/>
            <a:ext cx="1703068" cy="587682"/>
            <a:chOff x="4908037" y="3834996"/>
            <a:chExt cx="1703068" cy="587682"/>
          </a:xfrm>
        </p:grpSpPr>
        <p:sp>
          <p:nvSpPr>
            <p:cNvPr id="118" name="Rectangle: Rounded Corners 117">
              <a:extLst>
                <a:ext uri="{FF2B5EF4-FFF2-40B4-BE49-F238E27FC236}">
                  <a16:creationId xmlns:a16="http://schemas.microsoft.com/office/drawing/2014/main" id="{A9B4EC40-6226-466A-B353-2D49AD03E84B}"/>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4B1C7265-335C-426F-AAD6-903900D9E218}"/>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0" name="Rectangle: Rounded Corners 119">
              <a:extLst>
                <a:ext uri="{FF2B5EF4-FFF2-40B4-BE49-F238E27FC236}">
                  <a16:creationId xmlns:a16="http://schemas.microsoft.com/office/drawing/2014/main" id="{EB22FB09-E9C6-4249-AF38-608FB7D441BA}"/>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4" name="algorithm" title="Icon of a heartbeat">
              <a:extLst>
                <a:ext uri="{FF2B5EF4-FFF2-40B4-BE49-F238E27FC236}">
                  <a16:creationId xmlns:a16="http://schemas.microsoft.com/office/drawing/2014/main" id="{FD2BEC54-60DC-4E9A-B382-8E1C93F35DAB}"/>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38725769-C102-4271-9630-0864D2F3BAE5}"/>
              </a:ext>
            </a:extLst>
          </p:cNvPr>
          <p:cNvGrpSpPr/>
          <p:nvPr/>
        </p:nvGrpSpPr>
        <p:grpSpPr>
          <a:xfrm>
            <a:off x="4994175" y="4699961"/>
            <a:ext cx="1703068" cy="587682"/>
            <a:chOff x="4908037" y="4699961"/>
            <a:chExt cx="1703068" cy="587682"/>
          </a:xfrm>
        </p:grpSpPr>
        <p:sp>
          <p:nvSpPr>
            <p:cNvPr id="126" name="Rectangle: Rounded Corners 125">
              <a:extLst>
                <a:ext uri="{FF2B5EF4-FFF2-40B4-BE49-F238E27FC236}">
                  <a16:creationId xmlns:a16="http://schemas.microsoft.com/office/drawing/2014/main" id="{0D630FEC-585E-40A3-8B11-5AECF099C6F4}"/>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E1740603-FC64-44B2-A53E-F2F7768FEF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7100C366-84E3-430A-85DD-7251D7C9433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37" name="Straight Connector 136">
              <a:extLst>
                <a:ext uri="{FF2B5EF4-FFF2-40B4-BE49-F238E27FC236}">
                  <a16:creationId xmlns:a16="http://schemas.microsoft.com/office/drawing/2014/main" id="{8214A393-0FC3-4944-82A6-CEE48D7C6A30}"/>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6233CD1-BAA8-47D0-81F0-1027172BDB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B753E8-703A-429F-B055-B9456C5B9102}"/>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1" name="Rectangle 140">
            <a:extLst>
              <a:ext uri="{FF2B5EF4-FFF2-40B4-BE49-F238E27FC236}">
                <a16:creationId xmlns:a16="http://schemas.microsoft.com/office/drawing/2014/main" id="{B233EC49-9727-42D0-BE44-60D037BDAFDB}"/>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46" name="Group 145">
            <a:extLst>
              <a:ext uri="{FF2B5EF4-FFF2-40B4-BE49-F238E27FC236}">
                <a16:creationId xmlns:a16="http://schemas.microsoft.com/office/drawing/2014/main" id="{8E143F0C-E82C-4C78-9009-9CE725B28857}"/>
              </a:ext>
            </a:extLst>
          </p:cNvPr>
          <p:cNvGrpSpPr/>
          <p:nvPr/>
        </p:nvGrpSpPr>
        <p:grpSpPr>
          <a:xfrm>
            <a:off x="7787505" y="3882836"/>
            <a:ext cx="3406136" cy="587682"/>
            <a:chOff x="3519131" y="2542018"/>
            <a:chExt cx="3406136" cy="587682"/>
          </a:xfrm>
        </p:grpSpPr>
        <p:grpSp>
          <p:nvGrpSpPr>
            <p:cNvPr id="147" name="Group 146">
              <a:extLst>
                <a:ext uri="{FF2B5EF4-FFF2-40B4-BE49-F238E27FC236}">
                  <a16:creationId xmlns:a16="http://schemas.microsoft.com/office/drawing/2014/main" id="{C570CD86-6AB4-4316-88A5-004DED34C4E3}"/>
                </a:ext>
              </a:extLst>
            </p:cNvPr>
            <p:cNvGrpSpPr/>
            <p:nvPr/>
          </p:nvGrpSpPr>
          <p:grpSpPr>
            <a:xfrm>
              <a:off x="3519131" y="2542018"/>
              <a:ext cx="3334218" cy="498768"/>
              <a:chOff x="7837970" y="2542018"/>
              <a:chExt cx="3334218" cy="498768"/>
            </a:xfrm>
          </p:grpSpPr>
          <p:sp>
            <p:nvSpPr>
              <p:cNvPr id="154" name="Rectangle: Rounded Corners 153">
                <a:extLst>
                  <a:ext uri="{FF2B5EF4-FFF2-40B4-BE49-F238E27FC236}">
                    <a16:creationId xmlns:a16="http://schemas.microsoft.com/office/drawing/2014/main" id="{943200B6-BCBD-4A58-A252-EEA006B1BAB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5" name="Rectangle: Rounded Corners 154">
                <a:extLst>
                  <a:ext uri="{FF2B5EF4-FFF2-40B4-BE49-F238E27FC236}">
                    <a16:creationId xmlns:a16="http://schemas.microsoft.com/office/drawing/2014/main" id="{C49E3DB5-3D15-4E7E-B311-7918BAF026E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D9B8EAD1-D717-40AE-AE3E-F196FB136E48}"/>
                </a:ext>
              </a:extLst>
            </p:cNvPr>
            <p:cNvGrpSpPr/>
            <p:nvPr/>
          </p:nvGrpSpPr>
          <p:grpSpPr>
            <a:xfrm>
              <a:off x="3555090" y="2586475"/>
              <a:ext cx="3334218" cy="498768"/>
              <a:chOff x="7837970" y="2542018"/>
              <a:chExt cx="3334218" cy="498768"/>
            </a:xfrm>
          </p:grpSpPr>
          <p:sp>
            <p:nvSpPr>
              <p:cNvPr id="152" name="Rectangle: Rounded Corners 151">
                <a:extLst>
                  <a:ext uri="{FF2B5EF4-FFF2-40B4-BE49-F238E27FC236}">
                    <a16:creationId xmlns:a16="http://schemas.microsoft.com/office/drawing/2014/main" id="{221B3EC9-27C2-4F43-907D-9ADB0EEA1FD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BBCE10EA-F291-401D-9578-D0F5DB285C7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9" name="Group 148">
              <a:extLst>
                <a:ext uri="{FF2B5EF4-FFF2-40B4-BE49-F238E27FC236}">
                  <a16:creationId xmlns:a16="http://schemas.microsoft.com/office/drawing/2014/main" id="{0332BE36-7732-4A20-842C-2559971DEA42}"/>
                </a:ext>
              </a:extLst>
            </p:cNvPr>
            <p:cNvGrpSpPr/>
            <p:nvPr/>
          </p:nvGrpSpPr>
          <p:grpSpPr>
            <a:xfrm>
              <a:off x="3591049" y="2630932"/>
              <a:ext cx="3334218" cy="498768"/>
              <a:chOff x="7837970" y="2542018"/>
              <a:chExt cx="3334218" cy="498768"/>
            </a:xfrm>
          </p:grpSpPr>
          <p:sp>
            <p:nvSpPr>
              <p:cNvPr id="150" name="Rectangle: Rounded Corners 149">
                <a:extLst>
                  <a:ext uri="{FF2B5EF4-FFF2-40B4-BE49-F238E27FC236}">
                    <a16:creationId xmlns:a16="http://schemas.microsoft.com/office/drawing/2014/main" id="{8A9E9089-BE24-4D68-A917-D9E05870D3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51" name="Rectangle: Rounded Corners 150">
                <a:extLst>
                  <a:ext uri="{FF2B5EF4-FFF2-40B4-BE49-F238E27FC236}">
                    <a16:creationId xmlns:a16="http://schemas.microsoft.com/office/drawing/2014/main" id="{649C7534-D9AA-4788-811C-50E7F7955CE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60" name="desktop" title="a desktop PC">
            <a:extLst>
              <a:ext uri="{FF2B5EF4-FFF2-40B4-BE49-F238E27FC236}">
                <a16:creationId xmlns:a16="http://schemas.microsoft.com/office/drawing/2014/main" id="{A2D1E26E-BC2A-4EEC-95E8-98EA2E76E0BC}"/>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GenericApp_EB3B" title="Icon of an app window">
            <a:extLst>
              <a:ext uri="{FF2B5EF4-FFF2-40B4-BE49-F238E27FC236}">
                <a16:creationId xmlns:a16="http://schemas.microsoft.com/office/drawing/2014/main" id="{DA94E549-9251-4436-88CE-FE860C70E70B}"/>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166" name="Group 165">
            <a:extLst>
              <a:ext uri="{FF2B5EF4-FFF2-40B4-BE49-F238E27FC236}">
                <a16:creationId xmlns:a16="http://schemas.microsoft.com/office/drawing/2014/main" id="{2BFE8B12-02DD-4462-BE67-EB001638D83F}"/>
              </a:ext>
            </a:extLst>
          </p:cNvPr>
          <p:cNvGrpSpPr/>
          <p:nvPr/>
        </p:nvGrpSpPr>
        <p:grpSpPr>
          <a:xfrm>
            <a:off x="9293160" y="4013418"/>
            <a:ext cx="1846543" cy="154356"/>
            <a:chOff x="9293160" y="2701454"/>
            <a:chExt cx="1846543" cy="154356"/>
          </a:xfrm>
        </p:grpSpPr>
        <p:sp>
          <p:nvSpPr>
            <p:cNvPr id="169" name="Oval 168">
              <a:extLst>
                <a:ext uri="{FF2B5EF4-FFF2-40B4-BE49-F238E27FC236}">
                  <a16:creationId xmlns:a16="http://schemas.microsoft.com/office/drawing/2014/main" id="{32270434-45C3-4DC4-BDC8-4484FEE02C17}"/>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71" name="Oval 170">
              <a:extLst>
                <a:ext uri="{FF2B5EF4-FFF2-40B4-BE49-F238E27FC236}">
                  <a16:creationId xmlns:a16="http://schemas.microsoft.com/office/drawing/2014/main" id="{701A12FA-01DD-48E7-87C3-A11262E8EBB5}"/>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185" name="Group 184">
            <a:extLst>
              <a:ext uri="{FF2B5EF4-FFF2-40B4-BE49-F238E27FC236}">
                <a16:creationId xmlns:a16="http://schemas.microsoft.com/office/drawing/2014/main" id="{9568D03F-52F6-4810-AD30-3A025FDC577D}"/>
              </a:ext>
            </a:extLst>
          </p:cNvPr>
          <p:cNvGrpSpPr/>
          <p:nvPr/>
        </p:nvGrpSpPr>
        <p:grpSpPr>
          <a:xfrm>
            <a:off x="899303" y="3341056"/>
            <a:ext cx="1626420" cy="2908602"/>
            <a:chOff x="899303" y="2229846"/>
            <a:chExt cx="1626420" cy="2908602"/>
          </a:xfrm>
        </p:grpSpPr>
        <p:sp>
          <p:nvSpPr>
            <p:cNvPr id="187" name="Oval 186">
              <a:extLst>
                <a:ext uri="{FF2B5EF4-FFF2-40B4-BE49-F238E27FC236}">
                  <a16:creationId xmlns:a16="http://schemas.microsoft.com/office/drawing/2014/main" id="{10DFD45D-85B2-410C-9710-D913CE90807D}"/>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3" name="Oval 192">
              <a:extLst>
                <a:ext uri="{FF2B5EF4-FFF2-40B4-BE49-F238E27FC236}">
                  <a16:creationId xmlns:a16="http://schemas.microsoft.com/office/drawing/2014/main" id="{C5F7F1D6-EB7C-4A07-844D-86FA3856F193}"/>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4" name="Oval 193">
              <a:extLst>
                <a:ext uri="{FF2B5EF4-FFF2-40B4-BE49-F238E27FC236}">
                  <a16:creationId xmlns:a16="http://schemas.microsoft.com/office/drawing/2014/main" id="{87A6BCB0-EAF5-41ED-9B5C-02FDCA61B57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95" name="Group 194">
              <a:extLst>
                <a:ext uri="{FF2B5EF4-FFF2-40B4-BE49-F238E27FC236}">
                  <a16:creationId xmlns:a16="http://schemas.microsoft.com/office/drawing/2014/main" id="{7C280CDA-CBCE-4D61-A2C7-C39E8147EE9C}"/>
                </a:ext>
              </a:extLst>
            </p:cNvPr>
            <p:cNvGrpSpPr/>
            <p:nvPr/>
          </p:nvGrpSpPr>
          <p:grpSpPr>
            <a:xfrm>
              <a:off x="2043658" y="2532747"/>
              <a:ext cx="482065" cy="2255907"/>
              <a:chOff x="2224274" y="2338191"/>
              <a:chExt cx="482065" cy="2255907"/>
            </a:xfrm>
          </p:grpSpPr>
          <p:grpSp>
            <p:nvGrpSpPr>
              <p:cNvPr id="199" name="Group 198">
                <a:extLst>
                  <a:ext uri="{FF2B5EF4-FFF2-40B4-BE49-F238E27FC236}">
                    <a16:creationId xmlns:a16="http://schemas.microsoft.com/office/drawing/2014/main" id="{AD1BC2DF-E498-4498-BE45-4AB423DA84F9}"/>
                  </a:ext>
                </a:extLst>
              </p:cNvPr>
              <p:cNvGrpSpPr/>
              <p:nvPr/>
            </p:nvGrpSpPr>
            <p:grpSpPr>
              <a:xfrm>
                <a:off x="2281302" y="3639439"/>
                <a:ext cx="319498" cy="414180"/>
                <a:chOff x="5866856" y="4829242"/>
                <a:chExt cx="702675" cy="865083"/>
              </a:xfrm>
            </p:grpSpPr>
            <p:sp>
              <p:nvSpPr>
                <p:cNvPr id="212" name="Freeform 12">
                  <a:extLst>
                    <a:ext uri="{FF2B5EF4-FFF2-40B4-BE49-F238E27FC236}">
                      <a16:creationId xmlns:a16="http://schemas.microsoft.com/office/drawing/2014/main" id="{1B042CB9-DB4E-408F-BF39-517E735FF3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3">
                  <a:extLst>
                    <a:ext uri="{FF2B5EF4-FFF2-40B4-BE49-F238E27FC236}">
                      <a16:creationId xmlns:a16="http://schemas.microsoft.com/office/drawing/2014/main" id="{C54700DB-13CF-4450-BC09-C59808114708}"/>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3" name="Group 202">
                <a:extLst>
                  <a:ext uri="{FF2B5EF4-FFF2-40B4-BE49-F238E27FC236}">
                    <a16:creationId xmlns:a16="http://schemas.microsoft.com/office/drawing/2014/main" id="{D249886F-B833-4EF9-896E-06A4FF9416EA}"/>
                  </a:ext>
                </a:extLst>
              </p:cNvPr>
              <p:cNvGrpSpPr/>
              <p:nvPr/>
            </p:nvGrpSpPr>
            <p:grpSpPr>
              <a:xfrm>
                <a:off x="2286418" y="3019895"/>
                <a:ext cx="335350" cy="419905"/>
                <a:chOff x="13987161" y="3323588"/>
                <a:chExt cx="2047876" cy="2435225"/>
              </a:xfrm>
              <a:solidFill>
                <a:schemeClr val="bg1"/>
              </a:solidFill>
            </p:grpSpPr>
            <p:sp>
              <p:nvSpPr>
                <p:cNvPr id="208" name="Freeform 50">
                  <a:extLst>
                    <a:ext uri="{FF2B5EF4-FFF2-40B4-BE49-F238E27FC236}">
                      <a16:creationId xmlns:a16="http://schemas.microsoft.com/office/drawing/2014/main" id="{C214C05F-95AB-4957-8783-086F054939A0}"/>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51">
                  <a:extLst>
                    <a:ext uri="{FF2B5EF4-FFF2-40B4-BE49-F238E27FC236}">
                      <a16:creationId xmlns:a16="http://schemas.microsoft.com/office/drawing/2014/main" id="{021CCF71-4A63-4CA1-820A-01C8B59EA944}"/>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52">
                  <a:extLst>
                    <a:ext uri="{FF2B5EF4-FFF2-40B4-BE49-F238E27FC236}">
                      <a16:creationId xmlns:a16="http://schemas.microsoft.com/office/drawing/2014/main" id="{4DD50FDB-00A3-4BB6-BD1E-7CAFF8D4160D}"/>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53">
                  <a:extLst>
                    <a:ext uri="{FF2B5EF4-FFF2-40B4-BE49-F238E27FC236}">
                      <a16:creationId xmlns:a16="http://schemas.microsoft.com/office/drawing/2014/main" id="{37E539B4-8726-4F8D-BD31-EBBA240A0B8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6" name="Picture 205">
                <a:extLst>
                  <a:ext uri="{FF2B5EF4-FFF2-40B4-BE49-F238E27FC236}">
                    <a16:creationId xmlns:a16="http://schemas.microsoft.com/office/drawing/2014/main" id="{326FBC4E-1FFD-4D17-8253-AB0A05BBC6EF}"/>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07" name="Picture 206">
                <a:extLst>
                  <a:ext uri="{FF2B5EF4-FFF2-40B4-BE49-F238E27FC236}">
                    <a16:creationId xmlns:a16="http://schemas.microsoft.com/office/drawing/2014/main" id="{6153088A-A4AB-40DF-B8C8-9701E3C8B3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96" name="CellPhone_E8EA" title="Icon of a cellphone">
              <a:extLst>
                <a:ext uri="{FF2B5EF4-FFF2-40B4-BE49-F238E27FC236}">
                  <a16:creationId xmlns:a16="http://schemas.microsoft.com/office/drawing/2014/main" id="{C8D25D82-425D-4113-8979-B2B2F5F3C71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Laptop_E770" title="Icon of a laptop">
              <a:extLst>
                <a:ext uri="{FF2B5EF4-FFF2-40B4-BE49-F238E27FC236}">
                  <a16:creationId xmlns:a16="http://schemas.microsoft.com/office/drawing/2014/main" id="{36952636-64F4-40F6-A6BA-49769B6B1D16}"/>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Tablet_E70A" title="Icon of a tablet">
              <a:extLst>
                <a:ext uri="{FF2B5EF4-FFF2-40B4-BE49-F238E27FC236}">
                  <a16:creationId xmlns:a16="http://schemas.microsoft.com/office/drawing/2014/main" id="{0CB3680D-EF83-47E1-9170-A44014978D73}"/>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5" name="Rectangle: Rounded Corners 214">
            <a:extLst>
              <a:ext uri="{FF2B5EF4-FFF2-40B4-BE49-F238E27FC236}">
                <a16:creationId xmlns:a16="http://schemas.microsoft.com/office/drawing/2014/main" id="{3EE9B021-948B-4F9D-9DEF-669F22BF3DF2}"/>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18" name="Rectangle 217">
            <a:extLst>
              <a:ext uri="{FF2B5EF4-FFF2-40B4-BE49-F238E27FC236}">
                <a16:creationId xmlns:a16="http://schemas.microsoft.com/office/drawing/2014/main" id="{BE904DE9-321D-461B-8CED-FC784D63B570}"/>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19" name="Right Bracket 218">
            <a:extLst>
              <a:ext uri="{FF2B5EF4-FFF2-40B4-BE49-F238E27FC236}">
                <a16:creationId xmlns:a16="http://schemas.microsoft.com/office/drawing/2014/main" id="{2FAE7489-BBA0-4F08-AE78-CFB975137BDA}"/>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20" name="Group 219">
            <a:extLst>
              <a:ext uri="{FF2B5EF4-FFF2-40B4-BE49-F238E27FC236}">
                <a16:creationId xmlns:a16="http://schemas.microsoft.com/office/drawing/2014/main" id="{2231AB43-4A9D-4D36-AEC1-5A16A596F30A}"/>
              </a:ext>
            </a:extLst>
          </p:cNvPr>
          <p:cNvGrpSpPr/>
          <p:nvPr/>
        </p:nvGrpSpPr>
        <p:grpSpPr>
          <a:xfrm>
            <a:off x="3291107" y="4699961"/>
            <a:ext cx="1703068" cy="587682"/>
            <a:chOff x="3204969" y="4699961"/>
            <a:chExt cx="1703068" cy="587682"/>
          </a:xfrm>
        </p:grpSpPr>
        <p:sp>
          <p:nvSpPr>
            <p:cNvPr id="221" name="Rectangle: Rounded Corners 220">
              <a:extLst>
                <a:ext uri="{FF2B5EF4-FFF2-40B4-BE49-F238E27FC236}">
                  <a16:creationId xmlns:a16="http://schemas.microsoft.com/office/drawing/2014/main" id="{8CBF1A00-2164-4A67-AC94-5E0A18A8B5D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2" name="Rectangle: Rounded Corners 221">
              <a:extLst>
                <a:ext uri="{FF2B5EF4-FFF2-40B4-BE49-F238E27FC236}">
                  <a16:creationId xmlns:a16="http://schemas.microsoft.com/office/drawing/2014/main" id="{639858CD-61D1-4C9D-897C-72AD3D7C84C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3" name="Rectangle: Rounded Corners 222">
              <a:extLst>
                <a:ext uri="{FF2B5EF4-FFF2-40B4-BE49-F238E27FC236}">
                  <a16:creationId xmlns:a16="http://schemas.microsoft.com/office/drawing/2014/main" id="{DCFAA97A-2928-4C83-90CF-4E2F380795C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24" name="Move_E7C2" title="Icon of four arrows pointing away from eachother">
              <a:extLst>
                <a:ext uri="{FF2B5EF4-FFF2-40B4-BE49-F238E27FC236}">
                  <a16:creationId xmlns:a16="http://schemas.microsoft.com/office/drawing/2014/main" id="{04534B37-9866-4238-880F-E9294C7AE05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334E11FC-7FBC-4C4B-87B2-5D4614A48FB4}"/>
              </a:ext>
            </a:extLst>
          </p:cNvPr>
          <p:cNvGrpSpPr/>
          <p:nvPr/>
        </p:nvGrpSpPr>
        <p:grpSpPr>
          <a:xfrm>
            <a:off x="3291107" y="3834996"/>
            <a:ext cx="1703068" cy="587682"/>
            <a:chOff x="3204969" y="3834996"/>
            <a:chExt cx="1703068" cy="587682"/>
          </a:xfrm>
        </p:grpSpPr>
        <p:sp>
          <p:nvSpPr>
            <p:cNvPr id="227" name="Rectangle: Rounded Corners 226">
              <a:extLst>
                <a:ext uri="{FF2B5EF4-FFF2-40B4-BE49-F238E27FC236}">
                  <a16:creationId xmlns:a16="http://schemas.microsoft.com/office/drawing/2014/main" id="{E8EC3C4C-7CE6-4B6C-9356-413261F2178E}"/>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8" name="Rectangle: Rounded Corners 227">
              <a:extLst>
                <a:ext uri="{FF2B5EF4-FFF2-40B4-BE49-F238E27FC236}">
                  <a16:creationId xmlns:a16="http://schemas.microsoft.com/office/drawing/2014/main" id="{4C924E75-6008-49F5-829F-5C683E915D28}"/>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9" name="Rectangle: Rounded Corners 228">
              <a:extLst>
                <a:ext uri="{FF2B5EF4-FFF2-40B4-BE49-F238E27FC236}">
                  <a16:creationId xmlns:a16="http://schemas.microsoft.com/office/drawing/2014/main" id="{0DE5182E-5CE3-45AA-8CE9-9225AAF40B9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30" name="globe_2" title="Icon of a sphere made of lines">
              <a:extLst>
                <a:ext uri="{FF2B5EF4-FFF2-40B4-BE49-F238E27FC236}">
                  <a16:creationId xmlns:a16="http://schemas.microsoft.com/office/drawing/2014/main" id="{0BFA8386-6027-4FE1-98D3-A193E67B8A3D}"/>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32" name="TextBox 231">
            <a:extLst>
              <a:ext uri="{FF2B5EF4-FFF2-40B4-BE49-F238E27FC236}">
                <a16:creationId xmlns:a16="http://schemas.microsoft.com/office/drawing/2014/main" id="{95656F01-566B-4EC9-AD12-DF23415A72EE}"/>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33" name="Picture 2">
            <a:extLst>
              <a:ext uri="{FF2B5EF4-FFF2-40B4-BE49-F238E27FC236}">
                <a16:creationId xmlns:a16="http://schemas.microsoft.com/office/drawing/2014/main" id="{EBF1A798-47A1-4752-995F-CE368F8762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4148" y="5670402"/>
            <a:ext cx="399616" cy="422236"/>
          </a:xfrm>
          <a:prstGeom prst="rect">
            <a:avLst/>
          </a:prstGeom>
          <a:noFill/>
        </p:spPr>
      </p:pic>
      <p:grpSp>
        <p:nvGrpSpPr>
          <p:cNvPr id="238" name="Group 237">
            <a:extLst>
              <a:ext uri="{FF2B5EF4-FFF2-40B4-BE49-F238E27FC236}">
                <a16:creationId xmlns:a16="http://schemas.microsoft.com/office/drawing/2014/main" id="{29C4C541-F359-4766-B1F9-AA7C2BF34DDD}"/>
              </a:ext>
            </a:extLst>
          </p:cNvPr>
          <p:cNvGrpSpPr/>
          <p:nvPr/>
        </p:nvGrpSpPr>
        <p:grpSpPr>
          <a:xfrm>
            <a:off x="6523764" y="4464786"/>
            <a:ext cx="1464273" cy="550619"/>
            <a:chOff x="6523764" y="4464786"/>
            <a:chExt cx="1464273" cy="550619"/>
          </a:xfrm>
        </p:grpSpPr>
        <p:cxnSp>
          <p:nvCxnSpPr>
            <p:cNvPr id="239" name="Straight Arrow Connector 238">
              <a:extLst>
                <a:ext uri="{FF2B5EF4-FFF2-40B4-BE49-F238E27FC236}">
                  <a16:creationId xmlns:a16="http://schemas.microsoft.com/office/drawing/2014/main" id="{3CA7397B-2DC6-4524-949C-67D2A47E9888}"/>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0" name="Oval 239">
              <a:extLst>
                <a:ext uri="{FF2B5EF4-FFF2-40B4-BE49-F238E27FC236}">
                  <a16:creationId xmlns:a16="http://schemas.microsoft.com/office/drawing/2014/main" id="{C0B0D3A2-67DB-4D6A-9362-04BF28BF696D}"/>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1" name="Group 240">
            <a:extLst>
              <a:ext uri="{FF2B5EF4-FFF2-40B4-BE49-F238E27FC236}">
                <a16:creationId xmlns:a16="http://schemas.microsoft.com/office/drawing/2014/main" id="{277C59D4-EA84-4B48-A121-5287CF3E8F72}"/>
              </a:ext>
            </a:extLst>
          </p:cNvPr>
          <p:cNvGrpSpPr/>
          <p:nvPr/>
        </p:nvGrpSpPr>
        <p:grpSpPr>
          <a:xfrm>
            <a:off x="4790789" y="4046929"/>
            <a:ext cx="3032676" cy="981888"/>
            <a:chOff x="4790789" y="4046929"/>
            <a:chExt cx="3032676" cy="981888"/>
          </a:xfrm>
        </p:grpSpPr>
        <p:cxnSp>
          <p:nvCxnSpPr>
            <p:cNvPr id="242" name="Straight Arrow Connector 241">
              <a:extLst>
                <a:ext uri="{FF2B5EF4-FFF2-40B4-BE49-F238E27FC236}">
                  <a16:creationId xmlns:a16="http://schemas.microsoft.com/office/drawing/2014/main" id="{D881076F-6E4F-4B2C-927E-9020016C1987}"/>
                </a:ext>
              </a:extLst>
            </p:cNvPr>
            <p:cNvCxnSpPr>
              <a:cxnSpLocks/>
              <a:endCxn id="224"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3" name="Oval 242">
              <a:extLst>
                <a:ext uri="{FF2B5EF4-FFF2-40B4-BE49-F238E27FC236}">
                  <a16:creationId xmlns:a16="http://schemas.microsoft.com/office/drawing/2014/main" id="{5281DBFA-F892-4970-A915-9A284AFFD6B8}"/>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8" name="Group 7">
            <a:extLst>
              <a:ext uri="{FF2B5EF4-FFF2-40B4-BE49-F238E27FC236}">
                <a16:creationId xmlns:a16="http://schemas.microsoft.com/office/drawing/2014/main" id="{1FCEFAA0-DD16-4123-A20D-D03FE3D7D8A6}"/>
              </a:ext>
            </a:extLst>
          </p:cNvPr>
          <p:cNvGrpSpPr/>
          <p:nvPr/>
        </p:nvGrpSpPr>
        <p:grpSpPr>
          <a:xfrm>
            <a:off x="7323005" y="3524364"/>
            <a:ext cx="4139967" cy="2034659"/>
            <a:chOff x="7323005" y="3524364"/>
            <a:chExt cx="4139967" cy="2034659"/>
          </a:xfrm>
        </p:grpSpPr>
        <p:sp>
          <p:nvSpPr>
            <p:cNvPr id="7" name="Rectangle 6">
              <a:extLst>
                <a:ext uri="{FF2B5EF4-FFF2-40B4-BE49-F238E27FC236}">
                  <a16:creationId xmlns:a16="http://schemas.microsoft.com/office/drawing/2014/main" id="{B49E8A9F-84C5-4C24-9446-42F528C4EAB8}"/>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2" name="Lock" title="Icon of a padlock">
              <a:extLst>
                <a:ext uri="{FF2B5EF4-FFF2-40B4-BE49-F238E27FC236}">
                  <a16:creationId xmlns:a16="http://schemas.microsoft.com/office/drawing/2014/main" id="{F78A8A4D-A988-45CC-903B-14F12DC5DB9E}"/>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CBDCF289-1A10-4BF5-9F2B-23B486D5D1D6}"/>
              </a:ext>
            </a:extLst>
          </p:cNvPr>
          <p:cNvGrpSpPr/>
          <p:nvPr/>
        </p:nvGrpSpPr>
        <p:grpSpPr>
          <a:xfrm>
            <a:off x="7334706" y="3288329"/>
            <a:ext cx="378819" cy="378819"/>
            <a:chOff x="5564119" y="2081144"/>
            <a:chExt cx="501718" cy="501718"/>
          </a:xfrm>
        </p:grpSpPr>
        <p:sp>
          <p:nvSpPr>
            <p:cNvPr id="144" name="Diamond 143">
              <a:extLst>
                <a:ext uri="{FF2B5EF4-FFF2-40B4-BE49-F238E27FC236}">
                  <a16:creationId xmlns:a16="http://schemas.microsoft.com/office/drawing/2014/main" id="{2E2D7B2B-737C-4BF3-8CC1-9A88A4FD11CC}"/>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5" name="Graphic 144">
              <a:extLst>
                <a:ext uri="{FF2B5EF4-FFF2-40B4-BE49-F238E27FC236}">
                  <a16:creationId xmlns:a16="http://schemas.microsoft.com/office/drawing/2014/main" id="{45FED9B2-96EE-4DE9-BB58-2BD5B218E2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7" name="Group 96">
            <a:extLst>
              <a:ext uri="{FF2B5EF4-FFF2-40B4-BE49-F238E27FC236}">
                <a16:creationId xmlns:a16="http://schemas.microsoft.com/office/drawing/2014/main" id="{E21EE138-32DC-46AE-9157-20D68F2983B8}"/>
              </a:ext>
            </a:extLst>
          </p:cNvPr>
          <p:cNvGrpSpPr/>
          <p:nvPr/>
        </p:nvGrpSpPr>
        <p:grpSpPr>
          <a:xfrm>
            <a:off x="7787505" y="4694971"/>
            <a:ext cx="3406136" cy="587682"/>
            <a:chOff x="7787505" y="5258366"/>
            <a:chExt cx="3406136" cy="587682"/>
          </a:xfrm>
        </p:grpSpPr>
        <p:grpSp>
          <p:nvGrpSpPr>
            <p:cNvPr id="99" name="Group 98">
              <a:extLst>
                <a:ext uri="{FF2B5EF4-FFF2-40B4-BE49-F238E27FC236}">
                  <a16:creationId xmlns:a16="http://schemas.microsoft.com/office/drawing/2014/main" id="{44D1B4A2-B922-406B-B3AE-8A5086AC38FB}"/>
                </a:ext>
              </a:extLst>
            </p:cNvPr>
            <p:cNvGrpSpPr/>
            <p:nvPr/>
          </p:nvGrpSpPr>
          <p:grpSpPr>
            <a:xfrm>
              <a:off x="7787505" y="5258366"/>
              <a:ext cx="3406136" cy="587682"/>
              <a:chOff x="3519131" y="2542018"/>
              <a:chExt cx="3406136" cy="587682"/>
            </a:xfrm>
          </p:grpSpPr>
          <p:grpSp>
            <p:nvGrpSpPr>
              <p:cNvPr id="107" name="Group 106">
                <a:extLst>
                  <a:ext uri="{FF2B5EF4-FFF2-40B4-BE49-F238E27FC236}">
                    <a16:creationId xmlns:a16="http://schemas.microsoft.com/office/drawing/2014/main" id="{6B059133-71C6-4030-95EA-210A9BF16E7C}"/>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5F14B731-813C-4270-B5BC-E79CEE78AD3D}"/>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F145F61A-BEEF-4DCE-A932-297B35D1AB9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8" name="Group 107">
                <a:extLst>
                  <a:ext uri="{FF2B5EF4-FFF2-40B4-BE49-F238E27FC236}">
                    <a16:creationId xmlns:a16="http://schemas.microsoft.com/office/drawing/2014/main" id="{E878B2BA-9D34-4634-8F5B-21D95EDF685D}"/>
                  </a:ext>
                </a:extLst>
              </p:cNvPr>
              <p:cNvGrpSpPr/>
              <p:nvPr/>
            </p:nvGrpSpPr>
            <p:grpSpPr>
              <a:xfrm>
                <a:off x="3555090" y="2586475"/>
                <a:ext cx="3334218" cy="498768"/>
                <a:chOff x="7837970" y="2542018"/>
                <a:chExt cx="3334218" cy="498768"/>
              </a:xfrm>
            </p:grpSpPr>
            <p:sp>
              <p:nvSpPr>
                <p:cNvPr id="112" name="Rectangle: Rounded Corners 111">
                  <a:extLst>
                    <a:ext uri="{FF2B5EF4-FFF2-40B4-BE49-F238E27FC236}">
                      <a16:creationId xmlns:a16="http://schemas.microsoft.com/office/drawing/2014/main" id="{29F5D51A-EF8C-4188-8B2B-7C01C3A4C5E5}"/>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65129734-B361-4F92-AECA-9E4320B1D576}"/>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9" name="Group 108">
                <a:extLst>
                  <a:ext uri="{FF2B5EF4-FFF2-40B4-BE49-F238E27FC236}">
                    <a16:creationId xmlns:a16="http://schemas.microsoft.com/office/drawing/2014/main" id="{AD1CD8C0-29B3-4C17-9B91-3D52906EFD1E}"/>
                  </a:ext>
                </a:extLst>
              </p:cNvPr>
              <p:cNvGrpSpPr/>
              <p:nvPr/>
            </p:nvGrpSpPr>
            <p:grpSpPr>
              <a:xfrm>
                <a:off x="3591049" y="2630932"/>
                <a:ext cx="3334218" cy="498768"/>
                <a:chOff x="7837970" y="2542018"/>
                <a:chExt cx="3334218" cy="498768"/>
              </a:xfrm>
            </p:grpSpPr>
            <p:sp>
              <p:nvSpPr>
                <p:cNvPr id="110" name="Rectangle: Rounded Corners 109">
                  <a:extLst>
                    <a:ext uri="{FF2B5EF4-FFF2-40B4-BE49-F238E27FC236}">
                      <a16:creationId xmlns:a16="http://schemas.microsoft.com/office/drawing/2014/main" id="{C6F9D3BF-C419-42CC-9C7B-7FE8744AD4E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1" name="Rectangle: Rounded Corners 110">
                  <a:extLst>
                    <a:ext uri="{FF2B5EF4-FFF2-40B4-BE49-F238E27FC236}">
                      <a16:creationId xmlns:a16="http://schemas.microsoft.com/office/drawing/2014/main" id="{F928DFCC-D9E9-4D68-B7BC-3577421E62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0" name="Group 99">
              <a:extLst>
                <a:ext uri="{FF2B5EF4-FFF2-40B4-BE49-F238E27FC236}">
                  <a16:creationId xmlns:a16="http://schemas.microsoft.com/office/drawing/2014/main" id="{D441864B-2DB7-41DC-87BB-7B36CD6A8315}"/>
                </a:ext>
              </a:extLst>
            </p:cNvPr>
            <p:cNvGrpSpPr/>
            <p:nvPr/>
          </p:nvGrpSpPr>
          <p:grpSpPr>
            <a:xfrm>
              <a:off x="8883843" y="5370593"/>
              <a:ext cx="378819" cy="378819"/>
              <a:chOff x="5564119" y="2081144"/>
              <a:chExt cx="501718" cy="501718"/>
            </a:xfrm>
          </p:grpSpPr>
          <p:sp>
            <p:nvSpPr>
              <p:cNvPr id="105" name="Diamond 104">
                <a:extLst>
                  <a:ext uri="{FF2B5EF4-FFF2-40B4-BE49-F238E27FC236}">
                    <a16:creationId xmlns:a16="http://schemas.microsoft.com/office/drawing/2014/main" id="{3FF92DD6-17FD-4700-83C9-125A6A0A9820}"/>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6" name="Graphic 105">
                <a:extLst>
                  <a:ext uri="{FF2B5EF4-FFF2-40B4-BE49-F238E27FC236}">
                    <a16:creationId xmlns:a16="http://schemas.microsoft.com/office/drawing/2014/main" id="{265F9364-0515-4CBC-B1F4-2B535CF834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102" name="Group 101">
              <a:extLst>
                <a:ext uri="{FF2B5EF4-FFF2-40B4-BE49-F238E27FC236}">
                  <a16:creationId xmlns:a16="http://schemas.microsoft.com/office/drawing/2014/main" id="{3A209114-FDFA-4327-BBD8-4E4AB84C6EDF}"/>
                </a:ext>
              </a:extLst>
            </p:cNvPr>
            <p:cNvGrpSpPr/>
            <p:nvPr/>
          </p:nvGrpSpPr>
          <p:grpSpPr>
            <a:xfrm>
              <a:off x="10569241" y="5402721"/>
              <a:ext cx="396950" cy="355079"/>
              <a:chOff x="10633596" y="3514287"/>
              <a:chExt cx="396950" cy="355079"/>
            </a:xfrm>
          </p:grpSpPr>
          <p:sp>
            <p:nvSpPr>
              <p:cNvPr id="103" name="Hexagon 102">
                <a:extLst>
                  <a:ext uri="{FF2B5EF4-FFF2-40B4-BE49-F238E27FC236}">
                    <a16:creationId xmlns:a16="http://schemas.microsoft.com/office/drawing/2014/main" id="{98D84871-1D7B-43D6-BC26-682C1136BFD2}"/>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4" name="Picture 103">
                <a:extLst>
                  <a:ext uri="{FF2B5EF4-FFF2-40B4-BE49-F238E27FC236}">
                    <a16:creationId xmlns:a16="http://schemas.microsoft.com/office/drawing/2014/main" id="{98FCF666-56A2-453E-B348-E930FF12C8EB}"/>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963186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238"/>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24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7">
                                            <p:txEl>
                                              <p:pRg st="1" end="1"/>
                                            </p:txEl>
                                          </p:spTgt>
                                        </p:tgtEl>
                                        <p:attrNameLst>
                                          <p:attrName>style.visibility</p:attrName>
                                        </p:attrNameLst>
                                      </p:cBhvr>
                                      <p:to>
                                        <p:strVal val="visible"/>
                                      </p:to>
                                    </p:set>
                                    <p:animEffect transition="in" filter="fade">
                                      <p:cBhvr>
                                        <p:cTn id="16" dur="500"/>
                                        <p:tgtEl>
                                          <p:spTgt spid="21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7">
                                            <p:txEl>
                                              <p:pRg st="2" end="2"/>
                                            </p:txEl>
                                          </p:spTgt>
                                        </p:tgtEl>
                                        <p:attrNameLst>
                                          <p:attrName>style.visibility</p:attrName>
                                        </p:attrNameLst>
                                      </p:cBhvr>
                                      <p:to>
                                        <p:strVal val="visible"/>
                                      </p:to>
                                    </p:set>
                                    <p:animEffect transition="in" filter="fade">
                                      <p:cBhvr>
                                        <p:cTn id="21" dur="500"/>
                                        <p:tgtEl>
                                          <p:spTgt spid="217">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a:t>Multitenancy</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979746"/>
            <a:ext cx="6862684" cy="126223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Customer environments are highly isolated</a:t>
            </a: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Different AD configurations in each customer environment</a:t>
            </a: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VPN from tenant environments to on-prem</a:t>
            </a:r>
          </a:p>
        </p:txBody>
      </p:sp>
      <p:sp>
        <p:nvSpPr>
          <p:cNvPr id="341" name="Rectangle 340">
            <a:extLst>
              <a:ext uri="{FF2B5EF4-FFF2-40B4-BE49-F238E27FC236}">
                <a16:creationId xmlns:a16="http://schemas.microsoft.com/office/drawing/2014/main" id="{7DE54039-7FE3-414C-9696-FC902560AF26}"/>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342" name="Rectangle 341">
            <a:extLst>
              <a:ext uri="{FF2B5EF4-FFF2-40B4-BE49-F238E27FC236}">
                <a16:creationId xmlns:a16="http://schemas.microsoft.com/office/drawing/2014/main" id="{AD299961-DF25-4E80-A204-F6FA9805E60B}"/>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43" name="Group 342">
            <a:extLst>
              <a:ext uri="{FF2B5EF4-FFF2-40B4-BE49-F238E27FC236}">
                <a16:creationId xmlns:a16="http://schemas.microsoft.com/office/drawing/2014/main" id="{A9B72F35-4D2A-4212-9E52-E37778364684}"/>
              </a:ext>
            </a:extLst>
          </p:cNvPr>
          <p:cNvGrpSpPr/>
          <p:nvPr/>
        </p:nvGrpSpPr>
        <p:grpSpPr>
          <a:xfrm>
            <a:off x="2842651" y="2659786"/>
            <a:ext cx="187578" cy="3738194"/>
            <a:chOff x="2849277" y="1648178"/>
            <a:chExt cx="187578" cy="3738194"/>
          </a:xfrm>
        </p:grpSpPr>
        <p:cxnSp>
          <p:nvCxnSpPr>
            <p:cNvPr id="344" name="Straight Connector 343">
              <a:extLst>
                <a:ext uri="{FF2B5EF4-FFF2-40B4-BE49-F238E27FC236}">
                  <a16:creationId xmlns:a16="http://schemas.microsoft.com/office/drawing/2014/main" id="{91CF814D-A250-48FF-9163-ED0FEA37C61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45" name="Rectangle 344">
              <a:extLst>
                <a:ext uri="{FF2B5EF4-FFF2-40B4-BE49-F238E27FC236}">
                  <a16:creationId xmlns:a16="http://schemas.microsoft.com/office/drawing/2014/main" id="{6549B35C-0DEB-459D-B434-CD8ABCB08A42}"/>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0D563816-F9DF-42A1-8825-E6E5D995E31E}"/>
              </a:ext>
            </a:extLst>
          </p:cNvPr>
          <p:cNvGrpSpPr/>
          <p:nvPr/>
        </p:nvGrpSpPr>
        <p:grpSpPr>
          <a:xfrm>
            <a:off x="7031995" y="2755616"/>
            <a:ext cx="155930" cy="3691795"/>
            <a:chOff x="2849277" y="128295"/>
            <a:chExt cx="187578" cy="5258077"/>
          </a:xfrm>
        </p:grpSpPr>
        <p:cxnSp>
          <p:nvCxnSpPr>
            <p:cNvPr id="347" name="Straight Connector 346">
              <a:extLst>
                <a:ext uri="{FF2B5EF4-FFF2-40B4-BE49-F238E27FC236}">
                  <a16:creationId xmlns:a16="http://schemas.microsoft.com/office/drawing/2014/main" id="{9A77C08A-2F62-4104-9DE9-FD722438F055}"/>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48" name="Rectangle 347">
              <a:extLst>
                <a:ext uri="{FF2B5EF4-FFF2-40B4-BE49-F238E27FC236}">
                  <a16:creationId xmlns:a16="http://schemas.microsoft.com/office/drawing/2014/main" id="{4F495CFF-CC53-450A-B85B-ED1F33C60D91}"/>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49" name="Rectangle 348">
            <a:extLst>
              <a:ext uri="{FF2B5EF4-FFF2-40B4-BE49-F238E27FC236}">
                <a16:creationId xmlns:a16="http://schemas.microsoft.com/office/drawing/2014/main" id="{542DEF1E-D1B1-418C-8C52-4116627E4398}"/>
              </a:ext>
            </a:extLst>
          </p:cNvPr>
          <p:cNvSpPr/>
          <p:nvPr/>
        </p:nvSpPr>
        <p:spPr bwMode="auto">
          <a:xfrm>
            <a:off x="7248938" y="652612"/>
            <a:ext cx="4357445" cy="591169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350" name="Rectangle 349">
            <a:extLst>
              <a:ext uri="{FF2B5EF4-FFF2-40B4-BE49-F238E27FC236}">
                <a16:creationId xmlns:a16="http://schemas.microsoft.com/office/drawing/2014/main" id="{9E90B7DD-725E-4061-9CE2-D9C5288AC56F}"/>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351" name="Group 350">
            <a:extLst>
              <a:ext uri="{FF2B5EF4-FFF2-40B4-BE49-F238E27FC236}">
                <a16:creationId xmlns:a16="http://schemas.microsoft.com/office/drawing/2014/main" id="{F9ABFDE9-D180-45F3-99FD-B9DD0413D506}"/>
              </a:ext>
            </a:extLst>
          </p:cNvPr>
          <p:cNvGrpSpPr/>
          <p:nvPr/>
        </p:nvGrpSpPr>
        <p:grpSpPr>
          <a:xfrm>
            <a:off x="4994175" y="3834996"/>
            <a:ext cx="1703068" cy="587682"/>
            <a:chOff x="4908037" y="3834996"/>
            <a:chExt cx="1703068" cy="587682"/>
          </a:xfrm>
        </p:grpSpPr>
        <p:sp>
          <p:nvSpPr>
            <p:cNvPr id="352" name="Rectangle: Rounded Corners 351">
              <a:extLst>
                <a:ext uri="{FF2B5EF4-FFF2-40B4-BE49-F238E27FC236}">
                  <a16:creationId xmlns:a16="http://schemas.microsoft.com/office/drawing/2014/main" id="{1C5A7AFF-650A-4460-AF09-BBCA98268C9D}"/>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3" name="Rectangle: Rounded Corners 352">
              <a:extLst>
                <a:ext uri="{FF2B5EF4-FFF2-40B4-BE49-F238E27FC236}">
                  <a16:creationId xmlns:a16="http://schemas.microsoft.com/office/drawing/2014/main" id="{1B70D100-5641-45EB-9989-AA988847D05C}"/>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4" name="Rectangle: Rounded Corners 353">
              <a:extLst>
                <a:ext uri="{FF2B5EF4-FFF2-40B4-BE49-F238E27FC236}">
                  <a16:creationId xmlns:a16="http://schemas.microsoft.com/office/drawing/2014/main" id="{6D7AB7DD-F5EA-4CD9-AECF-79A2D4AFC6D8}"/>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355" name="algorithm" title="Icon of a heartbeat">
              <a:extLst>
                <a:ext uri="{FF2B5EF4-FFF2-40B4-BE49-F238E27FC236}">
                  <a16:creationId xmlns:a16="http://schemas.microsoft.com/office/drawing/2014/main" id="{A590BECD-AF7E-4871-8879-8FE2419713B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56" name="Group 355">
            <a:extLst>
              <a:ext uri="{FF2B5EF4-FFF2-40B4-BE49-F238E27FC236}">
                <a16:creationId xmlns:a16="http://schemas.microsoft.com/office/drawing/2014/main" id="{B8A02E8B-6D1C-404A-86BB-7E4DF71D29EF}"/>
              </a:ext>
            </a:extLst>
          </p:cNvPr>
          <p:cNvGrpSpPr/>
          <p:nvPr/>
        </p:nvGrpSpPr>
        <p:grpSpPr>
          <a:xfrm>
            <a:off x="4994175" y="4699961"/>
            <a:ext cx="1703068" cy="587682"/>
            <a:chOff x="4908037" y="4699961"/>
            <a:chExt cx="1703068" cy="587682"/>
          </a:xfrm>
        </p:grpSpPr>
        <p:sp>
          <p:nvSpPr>
            <p:cNvPr id="357" name="Rectangle: Rounded Corners 356">
              <a:extLst>
                <a:ext uri="{FF2B5EF4-FFF2-40B4-BE49-F238E27FC236}">
                  <a16:creationId xmlns:a16="http://schemas.microsoft.com/office/drawing/2014/main" id="{059D27C3-A22A-4A0A-9F36-2FAD3B237D4C}"/>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8" name="Rectangle: Rounded Corners 357">
              <a:extLst>
                <a:ext uri="{FF2B5EF4-FFF2-40B4-BE49-F238E27FC236}">
                  <a16:creationId xmlns:a16="http://schemas.microsoft.com/office/drawing/2014/main" id="{29BA6036-C022-4FD4-ACD5-5D4A6A7E9AD9}"/>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9" name="Rectangle: Rounded Corners 358">
              <a:extLst>
                <a:ext uri="{FF2B5EF4-FFF2-40B4-BE49-F238E27FC236}">
                  <a16:creationId xmlns:a16="http://schemas.microsoft.com/office/drawing/2014/main" id="{F20FE0D3-37E3-44BE-80D0-9DECC9C2759A}"/>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360" name="Straight Connector 359">
              <a:extLst>
                <a:ext uri="{FF2B5EF4-FFF2-40B4-BE49-F238E27FC236}">
                  <a16:creationId xmlns:a16="http://schemas.microsoft.com/office/drawing/2014/main" id="{B3871AE7-AA45-416F-A8D7-39B2CC5EB07A}"/>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329A1B11-370B-48C2-B9E5-CAB4AE6D349E}"/>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59C4BEC4-B126-4D9C-B41B-845FC3E76E70}"/>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3" name="Rectangle 362">
            <a:extLst>
              <a:ext uri="{FF2B5EF4-FFF2-40B4-BE49-F238E27FC236}">
                <a16:creationId xmlns:a16="http://schemas.microsoft.com/office/drawing/2014/main" id="{81C96C4D-0E22-4736-A092-43F294F5504E}"/>
              </a:ext>
            </a:extLst>
          </p:cNvPr>
          <p:cNvSpPr/>
          <p:nvPr/>
        </p:nvSpPr>
        <p:spPr bwMode="auto">
          <a:xfrm>
            <a:off x="7518174" y="1503403"/>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64" name="Rectangle 363">
            <a:extLst>
              <a:ext uri="{FF2B5EF4-FFF2-40B4-BE49-F238E27FC236}">
                <a16:creationId xmlns:a16="http://schemas.microsoft.com/office/drawing/2014/main" id="{68DC032F-6512-441E-850C-79E8B358C0B2}"/>
              </a:ext>
            </a:extLst>
          </p:cNvPr>
          <p:cNvSpPr/>
          <p:nvPr/>
        </p:nvSpPr>
        <p:spPr bwMode="auto">
          <a:xfrm>
            <a:off x="7518174" y="2729146"/>
            <a:ext cx="3944798" cy="795222"/>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8" name="Group 367">
            <a:extLst>
              <a:ext uri="{FF2B5EF4-FFF2-40B4-BE49-F238E27FC236}">
                <a16:creationId xmlns:a16="http://schemas.microsoft.com/office/drawing/2014/main" id="{B2D42F61-DBCF-4DFA-92BB-ECE33307712F}"/>
              </a:ext>
            </a:extLst>
          </p:cNvPr>
          <p:cNvGrpSpPr/>
          <p:nvPr/>
        </p:nvGrpSpPr>
        <p:grpSpPr>
          <a:xfrm>
            <a:off x="7787505" y="1861875"/>
            <a:ext cx="3406136" cy="587682"/>
            <a:chOff x="3519131" y="2542018"/>
            <a:chExt cx="3406136" cy="587682"/>
          </a:xfrm>
        </p:grpSpPr>
        <p:grpSp>
          <p:nvGrpSpPr>
            <p:cNvPr id="369" name="Group 368">
              <a:extLst>
                <a:ext uri="{FF2B5EF4-FFF2-40B4-BE49-F238E27FC236}">
                  <a16:creationId xmlns:a16="http://schemas.microsoft.com/office/drawing/2014/main" id="{E6158A5E-3102-4580-914E-0687EC76016D}"/>
                </a:ext>
              </a:extLst>
            </p:cNvPr>
            <p:cNvGrpSpPr/>
            <p:nvPr/>
          </p:nvGrpSpPr>
          <p:grpSpPr>
            <a:xfrm>
              <a:off x="3519131" y="2542018"/>
              <a:ext cx="3334218" cy="498768"/>
              <a:chOff x="7837970" y="2542018"/>
              <a:chExt cx="3334218" cy="498768"/>
            </a:xfrm>
          </p:grpSpPr>
          <p:sp>
            <p:nvSpPr>
              <p:cNvPr id="376" name="Rectangle: Rounded Corners 375">
                <a:extLst>
                  <a:ext uri="{FF2B5EF4-FFF2-40B4-BE49-F238E27FC236}">
                    <a16:creationId xmlns:a16="http://schemas.microsoft.com/office/drawing/2014/main" id="{EF8B860F-B483-4E6F-B3D4-096C576B914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77" name="Rectangle: Rounded Corners 376">
                <a:extLst>
                  <a:ext uri="{FF2B5EF4-FFF2-40B4-BE49-F238E27FC236}">
                    <a16:creationId xmlns:a16="http://schemas.microsoft.com/office/drawing/2014/main" id="{B1BD1C7E-2AC7-472E-AE98-21803CBBAF72}"/>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70" name="Group 369">
              <a:extLst>
                <a:ext uri="{FF2B5EF4-FFF2-40B4-BE49-F238E27FC236}">
                  <a16:creationId xmlns:a16="http://schemas.microsoft.com/office/drawing/2014/main" id="{4045CC46-1734-420E-92E8-ED237049DA95}"/>
                </a:ext>
              </a:extLst>
            </p:cNvPr>
            <p:cNvGrpSpPr/>
            <p:nvPr/>
          </p:nvGrpSpPr>
          <p:grpSpPr>
            <a:xfrm>
              <a:off x="3555090" y="2586475"/>
              <a:ext cx="3334218" cy="498768"/>
              <a:chOff x="7837970" y="2542018"/>
              <a:chExt cx="3334218" cy="498768"/>
            </a:xfrm>
          </p:grpSpPr>
          <p:sp>
            <p:nvSpPr>
              <p:cNvPr id="374" name="Rectangle: Rounded Corners 373">
                <a:extLst>
                  <a:ext uri="{FF2B5EF4-FFF2-40B4-BE49-F238E27FC236}">
                    <a16:creationId xmlns:a16="http://schemas.microsoft.com/office/drawing/2014/main" id="{1A48CD20-C349-4446-BBBA-A81CC4E20A5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75" name="Rectangle: Rounded Corners 374">
                <a:extLst>
                  <a:ext uri="{FF2B5EF4-FFF2-40B4-BE49-F238E27FC236}">
                    <a16:creationId xmlns:a16="http://schemas.microsoft.com/office/drawing/2014/main" id="{021CB498-0087-459D-8C45-71EE2136EE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71" name="Group 370">
              <a:extLst>
                <a:ext uri="{FF2B5EF4-FFF2-40B4-BE49-F238E27FC236}">
                  <a16:creationId xmlns:a16="http://schemas.microsoft.com/office/drawing/2014/main" id="{74C17E7A-A46E-4B83-989D-ACCB22D8640C}"/>
                </a:ext>
              </a:extLst>
            </p:cNvPr>
            <p:cNvGrpSpPr/>
            <p:nvPr/>
          </p:nvGrpSpPr>
          <p:grpSpPr>
            <a:xfrm>
              <a:off x="3591049" y="2630932"/>
              <a:ext cx="3334218" cy="498768"/>
              <a:chOff x="7837970" y="2542018"/>
              <a:chExt cx="3334218" cy="498768"/>
            </a:xfrm>
          </p:grpSpPr>
          <p:sp>
            <p:nvSpPr>
              <p:cNvPr id="372" name="Rectangle: Rounded Corners 371">
                <a:extLst>
                  <a:ext uri="{FF2B5EF4-FFF2-40B4-BE49-F238E27FC236}">
                    <a16:creationId xmlns:a16="http://schemas.microsoft.com/office/drawing/2014/main" id="{662BDCC3-1686-4756-90E9-BD32623FB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373" name="Rectangle: Rounded Corners 372">
                <a:extLst>
                  <a:ext uri="{FF2B5EF4-FFF2-40B4-BE49-F238E27FC236}">
                    <a16:creationId xmlns:a16="http://schemas.microsoft.com/office/drawing/2014/main" id="{865F5AE5-EED9-46F9-A056-B0FD1B6C1C2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378" name="Rectangle 377">
            <a:extLst>
              <a:ext uri="{FF2B5EF4-FFF2-40B4-BE49-F238E27FC236}">
                <a16:creationId xmlns:a16="http://schemas.microsoft.com/office/drawing/2014/main" id="{0561C92A-6992-4822-A59B-AC5D76FAA9BB}"/>
              </a:ext>
            </a:extLst>
          </p:cNvPr>
          <p:cNvSpPr/>
          <p:nvPr/>
        </p:nvSpPr>
        <p:spPr>
          <a:xfrm>
            <a:off x="7988037" y="2941725"/>
            <a:ext cx="1649739" cy="439095"/>
          </a:xfrm>
          <a:prstGeom prst="rect">
            <a:avLst/>
          </a:prstGeom>
        </p:spPr>
        <p:txBody>
          <a:bodyPr wrap="square">
            <a:sp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Azure AD</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Domain Services</a:t>
            </a:r>
          </a:p>
        </p:txBody>
      </p:sp>
      <p:grpSp>
        <p:nvGrpSpPr>
          <p:cNvPr id="379" name="Group 378">
            <a:extLst>
              <a:ext uri="{FF2B5EF4-FFF2-40B4-BE49-F238E27FC236}">
                <a16:creationId xmlns:a16="http://schemas.microsoft.com/office/drawing/2014/main" id="{38538912-4C6A-46CB-B1E1-747C8D7976C5}"/>
              </a:ext>
            </a:extLst>
          </p:cNvPr>
          <p:cNvGrpSpPr/>
          <p:nvPr/>
        </p:nvGrpSpPr>
        <p:grpSpPr>
          <a:xfrm>
            <a:off x="7624626" y="2959176"/>
            <a:ext cx="378819" cy="378819"/>
            <a:chOff x="5564119" y="2081144"/>
            <a:chExt cx="501718" cy="501718"/>
          </a:xfrm>
        </p:grpSpPr>
        <p:sp>
          <p:nvSpPr>
            <p:cNvPr id="380" name="Diamond 379">
              <a:extLst>
                <a:ext uri="{FF2B5EF4-FFF2-40B4-BE49-F238E27FC236}">
                  <a16:creationId xmlns:a16="http://schemas.microsoft.com/office/drawing/2014/main" id="{8911C8DF-D7F1-49CD-8528-58803F9C74FD}"/>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81" name="Graphic 380">
              <a:extLst>
                <a:ext uri="{FF2B5EF4-FFF2-40B4-BE49-F238E27FC236}">
                  <a16:creationId xmlns:a16="http://schemas.microsoft.com/office/drawing/2014/main" id="{2987CFCC-B711-470F-BEA7-F4F9261348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sp>
        <p:nvSpPr>
          <p:cNvPr id="382" name="desktop" title="a desktop PC">
            <a:extLst>
              <a:ext uri="{FF2B5EF4-FFF2-40B4-BE49-F238E27FC236}">
                <a16:creationId xmlns:a16="http://schemas.microsoft.com/office/drawing/2014/main" id="{6553C38E-5EE7-4C9E-9173-910D7FEC3108}"/>
              </a:ext>
            </a:extLst>
          </p:cNvPr>
          <p:cNvSpPr>
            <a:spLocks noChangeAspect="1" noEditPoints="1"/>
          </p:cNvSpPr>
          <p:nvPr/>
        </p:nvSpPr>
        <p:spPr bwMode="auto">
          <a:xfrm>
            <a:off x="8930300" y="2050160"/>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GenericApp_EB3B" title="Icon of an app window">
            <a:extLst>
              <a:ext uri="{FF2B5EF4-FFF2-40B4-BE49-F238E27FC236}">
                <a16:creationId xmlns:a16="http://schemas.microsoft.com/office/drawing/2014/main" id="{F0E885BF-AF2C-4BF2-AB54-C312C72BE032}"/>
              </a:ext>
            </a:extLst>
          </p:cNvPr>
          <p:cNvSpPr>
            <a:spLocks noChangeAspect="1" noEditPoints="1"/>
          </p:cNvSpPr>
          <p:nvPr/>
        </p:nvSpPr>
        <p:spPr bwMode="auto">
          <a:xfrm>
            <a:off x="10561450" y="2059961"/>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384" name="Group 383">
            <a:extLst>
              <a:ext uri="{FF2B5EF4-FFF2-40B4-BE49-F238E27FC236}">
                <a16:creationId xmlns:a16="http://schemas.microsoft.com/office/drawing/2014/main" id="{4BA74AF9-CB57-4A02-8482-F1419623443C}"/>
              </a:ext>
            </a:extLst>
          </p:cNvPr>
          <p:cNvGrpSpPr/>
          <p:nvPr/>
        </p:nvGrpSpPr>
        <p:grpSpPr>
          <a:xfrm>
            <a:off x="9654739" y="2971045"/>
            <a:ext cx="396950" cy="355079"/>
            <a:chOff x="10633596" y="3514287"/>
            <a:chExt cx="396950" cy="355079"/>
          </a:xfrm>
        </p:grpSpPr>
        <p:sp>
          <p:nvSpPr>
            <p:cNvPr id="385" name="Hexagon 384">
              <a:extLst>
                <a:ext uri="{FF2B5EF4-FFF2-40B4-BE49-F238E27FC236}">
                  <a16:creationId xmlns:a16="http://schemas.microsoft.com/office/drawing/2014/main" id="{09E08EEE-E18E-4718-840F-F29A61BED89C}"/>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386" name="Picture 385">
              <a:extLst>
                <a:ext uri="{FF2B5EF4-FFF2-40B4-BE49-F238E27FC236}">
                  <a16:creationId xmlns:a16="http://schemas.microsoft.com/office/drawing/2014/main" id="{EBDA721B-9E6A-4F22-BC57-D04503A3525C}"/>
                </a:ext>
              </a:extLst>
            </p:cNvPr>
            <p:cNvPicPr>
              <a:picLocks noChangeAspect="1"/>
            </p:cNvPicPr>
            <p:nvPr/>
          </p:nvPicPr>
          <p:blipFill>
            <a:blip r:embed="rId5"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sp>
        <p:nvSpPr>
          <p:cNvPr id="387" name="Rectangle 386">
            <a:extLst>
              <a:ext uri="{FF2B5EF4-FFF2-40B4-BE49-F238E27FC236}">
                <a16:creationId xmlns:a16="http://schemas.microsoft.com/office/drawing/2014/main" id="{BBA31BE6-FB7A-4724-9679-035A347AE39A}"/>
              </a:ext>
            </a:extLst>
          </p:cNvPr>
          <p:cNvSpPr/>
          <p:nvPr/>
        </p:nvSpPr>
        <p:spPr>
          <a:xfrm>
            <a:off x="10051689" y="2953221"/>
            <a:ext cx="1156783" cy="439095"/>
          </a:xfrm>
          <a:prstGeom prst="rect">
            <a:avLst/>
          </a:prstGeom>
        </p:spPr>
        <p:txBody>
          <a:bodyPr wrap="square">
            <a:sp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Azure Files</a:t>
            </a:r>
          </a:p>
        </p:txBody>
      </p:sp>
      <p:grpSp>
        <p:nvGrpSpPr>
          <p:cNvPr id="388" name="Group 387">
            <a:extLst>
              <a:ext uri="{FF2B5EF4-FFF2-40B4-BE49-F238E27FC236}">
                <a16:creationId xmlns:a16="http://schemas.microsoft.com/office/drawing/2014/main" id="{8FEC0B25-02CC-4FB7-80D8-CA7C541B7BBB}"/>
              </a:ext>
            </a:extLst>
          </p:cNvPr>
          <p:cNvGrpSpPr/>
          <p:nvPr/>
        </p:nvGrpSpPr>
        <p:grpSpPr>
          <a:xfrm>
            <a:off x="9293160" y="1992457"/>
            <a:ext cx="1846543" cy="154356"/>
            <a:chOff x="9293160" y="2701454"/>
            <a:chExt cx="1846543" cy="154356"/>
          </a:xfrm>
        </p:grpSpPr>
        <p:sp>
          <p:nvSpPr>
            <p:cNvPr id="389" name="Oval 388">
              <a:extLst>
                <a:ext uri="{FF2B5EF4-FFF2-40B4-BE49-F238E27FC236}">
                  <a16:creationId xmlns:a16="http://schemas.microsoft.com/office/drawing/2014/main" id="{C436A7FD-6C46-435F-84E1-8F43F6075E05}"/>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390" name="Oval 389">
              <a:extLst>
                <a:ext uri="{FF2B5EF4-FFF2-40B4-BE49-F238E27FC236}">
                  <a16:creationId xmlns:a16="http://schemas.microsoft.com/office/drawing/2014/main" id="{561E663D-A107-40A9-B075-90D5573AEAA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391" name="Group 390">
            <a:extLst>
              <a:ext uri="{FF2B5EF4-FFF2-40B4-BE49-F238E27FC236}">
                <a16:creationId xmlns:a16="http://schemas.microsoft.com/office/drawing/2014/main" id="{280B0421-6632-4938-A0B1-D3A7603DEE6F}"/>
              </a:ext>
            </a:extLst>
          </p:cNvPr>
          <p:cNvGrpSpPr/>
          <p:nvPr/>
        </p:nvGrpSpPr>
        <p:grpSpPr>
          <a:xfrm>
            <a:off x="899303" y="3341056"/>
            <a:ext cx="1626420" cy="2908602"/>
            <a:chOff x="899303" y="2229846"/>
            <a:chExt cx="1626420" cy="2908602"/>
          </a:xfrm>
        </p:grpSpPr>
        <p:sp>
          <p:nvSpPr>
            <p:cNvPr id="392" name="Oval 391">
              <a:extLst>
                <a:ext uri="{FF2B5EF4-FFF2-40B4-BE49-F238E27FC236}">
                  <a16:creationId xmlns:a16="http://schemas.microsoft.com/office/drawing/2014/main" id="{5ECAEF89-9633-494F-A210-7D7FC1D58611}"/>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93" name="Oval 392">
              <a:extLst>
                <a:ext uri="{FF2B5EF4-FFF2-40B4-BE49-F238E27FC236}">
                  <a16:creationId xmlns:a16="http://schemas.microsoft.com/office/drawing/2014/main" id="{78B3FF34-EE3F-44A4-8294-30DAD6EC9E12}"/>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94" name="Oval 393">
              <a:extLst>
                <a:ext uri="{FF2B5EF4-FFF2-40B4-BE49-F238E27FC236}">
                  <a16:creationId xmlns:a16="http://schemas.microsoft.com/office/drawing/2014/main" id="{EAC31F1C-2EA5-4EC0-BE37-64EC923F584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395" name="Group 394">
              <a:extLst>
                <a:ext uri="{FF2B5EF4-FFF2-40B4-BE49-F238E27FC236}">
                  <a16:creationId xmlns:a16="http://schemas.microsoft.com/office/drawing/2014/main" id="{30776B3F-61F4-47DF-9F78-B85E9291B747}"/>
                </a:ext>
              </a:extLst>
            </p:cNvPr>
            <p:cNvGrpSpPr/>
            <p:nvPr/>
          </p:nvGrpSpPr>
          <p:grpSpPr>
            <a:xfrm>
              <a:off x="2043658" y="2532747"/>
              <a:ext cx="482065" cy="2255907"/>
              <a:chOff x="2224274" y="2338191"/>
              <a:chExt cx="482065" cy="2255907"/>
            </a:xfrm>
          </p:grpSpPr>
          <p:grpSp>
            <p:nvGrpSpPr>
              <p:cNvPr id="399" name="Group 398">
                <a:extLst>
                  <a:ext uri="{FF2B5EF4-FFF2-40B4-BE49-F238E27FC236}">
                    <a16:creationId xmlns:a16="http://schemas.microsoft.com/office/drawing/2014/main" id="{60B2AA71-A5B7-43D0-817A-DFDD90223CE1}"/>
                  </a:ext>
                </a:extLst>
              </p:cNvPr>
              <p:cNvGrpSpPr/>
              <p:nvPr/>
            </p:nvGrpSpPr>
            <p:grpSpPr>
              <a:xfrm>
                <a:off x="2281302" y="3639439"/>
                <a:ext cx="319498" cy="414180"/>
                <a:chOff x="5866856" y="4829242"/>
                <a:chExt cx="702675" cy="865083"/>
              </a:xfrm>
            </p:grpSpPr>
            <p:sp>
              <p:nvSpPr>
                <p:cNvPr id="407" name="Freeform 12">
                  <a:extLst>
                    <a:ext uri="{FF2B5EF4-FFF2-40B4-BE49-F238E27FC236}">
                      <a16:creationId xmlns:a16="http://schemas.microsoft.com/office/drawing/2014/main" id="{9790D12E-C98B-4E3E-801E-53D4A71654E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408" name="Freeform 13">
                  <a:extLst>
                    <a:ext uri="{FF2B5EF4-FFF2-40B4-BE49-F238E27FC236}">
                      <a16:creationId xmlns:a16="http://schemas.microsoft.com/office/drawing/2014/main" id="{96EE3003-82DF-4D55-A760-34274AE66492}"/>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00" name="Group 399">
                <a:extLst>
                  <a:ext uri="{FF2B5EF4-FFF2-40B4-BE49-F238E27FC236}">
                    <a16:creationId xmlns:a16="http://schemas.microsoft.com/office/drawing/2014/main" id="{49264965-3734-42B6-BD60-B4C99874D2AC}"/>
                  </a:ext>
                </a:extLst>
              </p:cNvPr>
              <p:cNvGrpSpPr/>
              <p:nvPr/>
            </p:nvGrpSpPr>
            <p:grpSpPr>
              <a:xfrm>
                <a:off x="2286418" y="3019895"/>
                <a:ext cx="335350" cy="419905"/>
                <a:chOff x="13987161" y="3323588"/>
                <a:chExt cx="2047876" cy="2435225"/>
              </a:xfrm>
              <a:solidFill>
                <a:schemeClr val="bg1"/>
              </a:solidFill>
            </p:grpSpPr>
            <p:sp>
              <p:nvSpPr>
                <p:cNvPr id="403" name="Freeform 50">
                  <a:extLst>
                    <a:ext uri="{FF2B5EF4-FFF2-40B4-BE49-F238E27FC236}">
                      <a16:creationId xmlns:a16="http://schemas.microsoft.com/office/drawing/2014/main" id="{1ABDD37C-C61F-4C76-91A5-E2A4395BF1E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404" name="Freeform 51">
                  <a:extLst>
                    <a:ext uri="{FF2B5EF4-FFF2-40B4-BE49-F238E27FC236}">
                      <a16:creationId xmlns:a16="http://schemas.microsoft.com/office/drawing/2014/main" id="{3BF6D1D7-2E77-4031-A87B-39A4114F6FA2}"/>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405" name="Freeform 52">
                  <a:extLst>
                    <a:ext uri="{FF2B5EF4-FFF2-40B4-BE49-F238E27FC236}">
                      <a16:creationId xmlns:a16="http://schemas.microsoft.com/office/drawing/2014/main" id="{FC418202-8838-4EF2-8D5C-4049AFB4272A}"/>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406" name="Freeform 53">
                  <a:extLst>
                    <a:ext uri="{FF2B5EF4-FFF2-40B4-BE49-F238E27FC236}">
                      <a16:creationId xmlns:a16="http://schemas.microsoft.com/office/drawing/2014/main" id="{E8FB555A-05FB-454B-A82B-559114AA5F6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401" name="Picture 400">
                <a:extLst>
                  <a:ext uri="{FF2B5EF4-FFF2-40B4-BE49-F238E27FC236}">
                    <a16:creationId xmlns:a16="http://schemas.microsoft.com/office/drawing/2014/main" id="{A29EED79-3731-427C-B75C-A4B8B1219101}"/>
                  </a:ext>
                </a:extLst>
              </p:cNvPr>
              <p:cNvPicPr>
                <a:picLocks noChangeAspect="1"/>
              </p:cNvPicPr>
              <p:nvPr/>
            </p:nvPicPr>
            <p:blipFill rotWithShape="1">
              <a:blip r:embed="rId6" cstate="print">
                <a:duotone>
                  <a:prstClr val="black"/>
                  <a:schemeClr val="tx1">
                    <a:tint val="45000"/>
                    <a:satMod val="400000"/>
                  </a:schemeClr>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402" name="Picture 401">
                <a:extLst>
                  <a:ext uri="{FF2B5EF4-FFF2-40B4-BE49-F238E27FC236}">
                    <a16:creationId xmlns:a16="http://schemas.microsoft.com/office/drawing/2014/main" id="{4FF9CDC9-9860-4F69-B462-2682D9F71D3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396" name="CellPhone_E8EA" title="Icon of a cellphone">
              <a:extLst>
                <a:ext uri="{FF2B5EF4-FFF2-40B4-BE49-F238E27FC236}">
                  <a16:creationId xmlns:a16="http://schemas.microsoft.com/office/drawing/2014/main" id="{8F67E986-5795-4130-9DA8-F67421591AA6}"/>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Laptop_E770" title="Icon of a laptop">
              <a:extLst>
                <a:ext uri="{FF2B5EF4-FFF2-40B4-BE49-F238E27FC236}">
                  <a16:creationId xmlns:a16="http://schemas.microsoft.com/office/drawing/2014/main" id="{B9A8F6D4-81E0-41AB-B60B-778173F801E0}"/>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Tablet_E70A" title="Icon of a tablet">
              <a:extLst>
                <a:ext uri="{FF2B5EF4-FFF2-40B4-BE49-F238E27FC236}">
                  <a16:creationId xmlns:a16="http://schemas.microsoft.com/office/drawing/2014/main" id="{5215EB1C-F5E8-4821-9D6B-4FE72DCACFC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09" name="Rectangle: Rounded Corners 408">
            <a:extLst>
              <a:ext uri="{FF2B5EF4-FFF2-40B4-BE49-F238E27FC236}">
                <a16:creationId xmlns:a16="http://schemas.microsoft.com/office/drawing/2014/main" id="{30898F8F-36CB-48F2-A0AE-DE7F93572B10}"/>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410" name="Rectangle 409">
            <a:extLst>
              <a:ext uri="{FF2B5EF4-FFF2-40B4-BE49-F238E27FC236}">
                <a16:creationId xmlns:a16="http://schemas.microsoft.com/office/drawing/2014/main" id="{B73B9596-6A88-4C3A-890B-FE82E52404AE}"/>
              </a:ext>
            </a:extLst>
          </p:cNvPr>
          <p:cNvSpPr/>
          <p:nvPr/>
        </p:nvSpPr>
        <p:spPr>
          <a:xfrm>
            <a:off x="10858778" y="1464678"/>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411" name="Right Bracket 410">
            <a:extLst>
              <a:ext uri="{FF2B5EF4-FFF2-40B4-BE49-F238E27FC236}">
                <a16:creationId xmlns:a16="http://schemas.microsoft.com/office/drawing/2014/main" id="{61D5AE31-A55E-4495-B2CA-AC8CB35F7963}"/>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8A731CFA-80D2-417B-995C-453B00671712}"/>
              </a:ext>
            </a:extLst>
          </p:cNvPr>
          <p:cNvGrpSpPr/>
          <p:nvPr/>
        </p:nvGrpSpPr>
        <p:grpSpPr>
          <a:xfrm>
            <a:off x="3291107" y="4699961"/>
            <a:ext cx="1703068" cy="587682"/>
            <a:chOff x="3204969" y="4699961"/>
            <a:chExt cx="1703068" cy="587682"/>
          </a:xfrm>
        </p:grpSpPr>
        <p:sp>
          <p:nvSpPr>
            <p:cNvPr id="413" name="Rectangle: Rounded Corners 412">
              <a:extLst>
                <a:ext uri="{FF2B5EF4-FFF2-40B4-BE49-F238E27FC236}">
                  <a16:creationId xmlns:a16="http://schemas.microsoft.com/office/drawing/2014/main" id="{F909CD53-1969-40DB-AB66-ACECD3B9D48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14" name="Rectangle: Rounded Corners 413">
              <a:extLst>
                <a:ext uri="{FF2B5EF4-FFF2-40B4-BE49-F238E27FC236}">
                  <a16:creationId xmlns:a16="http://schemas.microsoft.com/office/drawing/2014/main" id="{A4EE8EA3-27FA-41C3-B9A6-39848CCAD476}"/>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15" name="Rectangle: Rounded Corners 414">
              <a:extLst>
                <a:ext uri="{FF2B5EF4-FFF2-40B4-BE49-F238E27FC236}">
                  <a16:creationId xmlns:a16="http://schemas.microsoft.com/office/drawing/2014/main" id="{C9872EA4-78C5-422A-8685-E4327D3FEC49}"/>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416" name="Move_E7C2" title="Icon of four arrows pointing away from eachother">
              <a:extLst>
                <a:ext uri="{FF2B5EF4-FFF2-40B4-BE49-F238E27FC236}">
                  <a16:creationId xmlns:a16="http://schemas.microsoft.com/office/drawing/2014/main" id="{B09F39C7-1F15-4134-ACD9-2EFDD1EFEFF8}"/>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17" name="Group 416">
            <a:extLst>
              <a:ext uri="{FF2B5EF4-FFF2-40B4-BE49-F238E27FC236}">
                <a16:creationId xmlns:a16="http://schemas.microsoft.com/office/drawing/2014/main" id="{22C55347-3AA9-4FF6-8582-700DFA2C8869}"/>
              </a:ext>
            </a:extLst>
          </p:cNvPr>
          <p:cNvGrpSpPr/>
          <p:nvPr/>
        </p:nvGrpSpPr>
        <p:grpSpPr>
          <a:xfrm>
            <a:off x="3291107" y="3834996"/>
            <a:ext cx="1703068" cy="587682"/>
            <a:chOff x="3204969" y="3834996"/>
            <a:chExt cx="1703068" cy="587682"/>
          </a:xfrm>
        </p:grpSpPr>
        <p:sp>
          <p:nvSpPr>
            <p:cNvPr id="418" name="Rectangle: Rounded Corners 417">
              <a:extLst>
                <a:ext uri="{FF2B5EF4-FFF2-40B4-BE49-F238E27FC236}">
                  <a16:creationId xmlns:a16="http://schemas.microsoft.com/office/drawing/2014/main" id="{F04E19BF-CB6D-4E84-B9F2-7E463E3D9E1C}"/>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19" name="Rectangle: Rounded Corners 418">
              <a:extLst>
                <a:ext uri="{FF2B5EF4-FFF2-40B4-BE49-F238E27FC236}">
                  <a16:creationId xmlns:a16="http://schemas.microsoft.com/office/drawing/2014/main" id="{0CFFE9DB-8A26-4373-B2DD-E22ABF19AD37}"/>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20" name="Rectangle: Rounded Corners 419">
              <a:extLst>
                <a:ext uri="{FF2B5EF4-FFF2-40B4-BE49-F238E27FC236}">
                  <a16:creationId xmlns:a16="http://schemas.microsoft.com/office/drawing/2014/main" id="{25E68220-7B1A-4A85-9947-0F5FE26C2D7D}"/>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421" name="globe_2" title="Icon of a sphere made of lines">
              <a:extLst>
                <a:ext uri="{FF2B5EF4-FFF2-40B4-BE49-F238E27FC236}">
                  <a16:creationId xmlns:a16="http://schemas.microsoft.com/office/drawing/2014/main" id="{4E805E7C-5ED1-4C89-8B04-8A4CCC816619}"/>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422" name="TextBox 421">
            <a:extLst>
              <a:ext uri="{FF2B5EF4-FFF2-40B4-BE49-F238E27FC236}">
                <a16:creationId xmlns:a16="http://schemas.microsoft.com/office/drawing/2014/main" id="{DB3464B6-7998-4192-BD96-C388E0935731}"/>
              </a:ext>
            </a:extLst>
          </p:cNvPr>
          <p:cNvSpPr txBox="1"/>
          <p:nvPr/>
        </p:nvSpPr>
        <p:spPr>
          <a:xfrm>
            <a:off x="7601977" y="1525878"/>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423" name="Picture 2">
            <a:extLst>
              <a:ext uri="{FF2B5EF4-FFF2-40B4-BE49-F238E27FC236}">
                <a16:creationId xmlns:a16="http://schemas.microsoft.com/office/drawing/2014/main" id="{2EDE0C76-DDFF-4126-9989-B595029A61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4148" y="5670402"/>
            <a:ext cx="399616" cy="422236"/>
          </a:xfrm>
          <a:prstGeom prst="rect">
            <a:avLst/>
          </a:prstGeom>
          <a:noFill/>
        </p:spPr>
      </p:pic>
      <p:grpSp>
        <p:nvGrpSpPr>
          <p:cNvPr id="430" name="Group 429">
            <a:extLst>
              <a:ext uri="{FF2B5EF4-FFF2-40B4-BE49-F238E27FC236}">
                <a16:creationId xmlns:a16="http://schemas.microsoft.com/office/drawing/2014/main" id="{09D57FDD-50D5-415C-B10B-EE235EB293C8}"/>
              </a:ext>
            </a:extLst>
          </p:cNvPr>
          <p:cNvGrpSpPr/>
          <p:nvPr/>
        </p:nvGrpSpPr>
        <p:grpSpPr>
          <a:xfrm>
            <a:off x="7323005" y="1503403"/>
            <a:ext cx="4139967" cy="2034659"/>
            <a:chOff x="7323005" y="3524364"/>
            <a:chExt cx="4139967" cy="2034659"/>
          </a:xfrm>
        </p:grpSpPr>
        <p:sp>
          <p:nvSpPr>
            <p:cNvPr id="431" name="Rectangle 430">
              <a:extLst>
                <a:ext uri="{FF2B5EF4-FFF2-40B4-BE49-F238E27FC236}">
                  <a16:creationId xmlns:a16="http://schemas.microsoft.com/office/drawing/2014/main" id="{68D368FE-0E50-4793-B874-70B46DB975EF}"/>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32" name="Lock" title="Icon of a padlock">
              <a:extLst>
                <a:ext uri="{FF2B5EF4-FFF2-40B4-BE49-F238E27FC236}">
                  <a16:creationId xmlns:a16="http://schemas.microsoft.com/office/drawing/2014/main" id="{78705B53-689E-4900-B514-548FC97C1421}"/>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65" name="Group 364">
            <a:extLst>
              <a:ext uri="{FF2B5EF4-FFF2-40B4-BE49-F238E27FC236}">
                <a16:creationId xmlns:a16="http://schemas.microsoft.com/office/drawing/2014/main" id="{7F8A52CB-3FCF-47CD-926F-28B2B7081051}"/>
              </a:ext>
            </a:extLst>
          </p:cNvPr>
          <p:cNvGrpSpPr/>
          <p:nvPr/>
        </p:nvGrpSpPr>
        <p:grpSpPr>
          <a:xfrm>
            <a:off x="7334706" y="1267368"/>
            <a:ext cx="378819" cy="378819"/>
            <a:chOff x="5564119" y="2081144"/>
            <a:chExt cx="501718" cy="501718"/>
          </a:xfrm>
        </p:grpSpPr>
        <p:sp>
          <p:nvSpPr>
            <p:cNvPr id="366" name="Diamond 365">
              <a:extLst>
                <a:ext uri="{FF2B5EF4-FFF2-40B4-BE49-F238E27FC236}">
                  <a16:creationId xmlns:a16="http://schemas.microsoft.com/office/drawing/2014/main" id="{4164E0F4-62A5-4456-AE7D-FD3B2575A3A2}"/>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67" name="Graphic 366">
              <a:extLst>
                <a:ext uri="{FF2B5EF4-FFF2-40B4-BE49-F238E27FC236}">
                  <a16:creationId xmlns:a16="http://schemas.microsoft.com/office/drawing/2014/main" id="{85355B63-ABBB-43AB-AB49-5991A20703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sp>
        <p:nvSpPr>
          <p:cNvPr id="466" name="Rectangle 465">
            <a:extLst>
              <a:ext uri="{FF2B5EF4-FFF2-40B4-BE49-F238E27FC236}">
                <a16:creationId xmlns:a16="http://schemas.microsoft.com/office/drawing/2014/main" id="{184DCC05-CC33-4B98-A828-7991D407E799}"/>
              </a:ext>
            </a:extLst>
          </p:cNvPr>
          <p:cNvSpPr/>
          <p:nvPr/>
        </p:nvSpPr>
        <p:spPr bwMode="auto">
          <a:xfrm>
            <a:off x="7518174" y="408758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468" name="Group 467">
            <a:extLst>
              <a:ext uri="{FF2B5EF4-FFF2-40B4-BE49-F238E27FC236}">
                <a16:creationId xmlns:a16="http://schemas.microsoft.com/office/drawing/2014/main" id="{B0D525B4-E70A-4DB1-A9DB-48516975ABFA}"/>
              </a:ext>
            </a:extLst>
          </p:cNvPr>
          <p:cNvGrpSpPr/>
          <p:nvPr/>
        </p:nvGrpSpPr>
        <p:grpSpPr>
          <a:xfrm>
            <a:off x="7787505" y="4446056"/>
            <a:ext cx="3406136" cy="587682"/>
            <a:chOff x="3519131" y="2542018"/>
            <a:chExt cx="3406136" cy="587682"/>
          </a:xfrm>
        </p:grpSpPr>
        <p:grpSp>
          <p:nvGrpSpPr>
            <p:cNvPr id="469" name="Group 468">
              <a:extLst>
                <a:ext uri="{FF2B5EF4-FFF2-40B4-BE49-F238E27FC236}">
                  <a16:creationId xmlns:a16="http://schemas.microsoft.com/office/drawing/2014/main" id="{5D865B13-8C20-4AFE-98C7-69E514C51FD0}"/>
                </a:ext>
              </a:extLst>
            </p:cNvPr>
            <p:cNvGrpSpPr/>
            <p:nvPr/>
          </p:nvGrpSpPr>
          <p:grpSpPr>
            <a:xfrm>
              <a:off x="3519131" y="2542018"/>
              <a:ext cx="3334218" cy="498768"/>
              <a:chOff x="7837970" y="2542018"/>
              <a:chExt cx="3334218" cy="498768"/>
            </a:xfrm>
          </p:grpSpPr>
          <p:sp>
            <p:nvSpPr>
              <p:cNvPr id="476" name="Rectangle: Rounded Corners 475">
                <a:extLst>
                  <a:ext uri="{FF2B5EF4-FFF2-40B4-BE49-F238E27FC236}">
                    <a16:creationId xmlns:a16="http://schemas.microsoft.com/office/drawing/2014/main" id="{E9D72327-5BC0-4E8E-B64C-65E07DC6C9D8}"/>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77" name="Rectangle: Rounded Corners 476">
                <a:extLst>
                  <a:ext uri="{FF2B5EF4-FFF2-40B4-BE49-F238E27FC236}">
                    <a16:creationId xmlns:a16="http://schemas.microsoft.com/office/drawing/2014/main" id="{BB6F5EE5-1D7E-4E84-991A-B05D7CFACDF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70" name="Group 469">
              <a:extLst>
                <a:ext uri="{FF2B5EF4-FFF2-40B4-BE49-F238E27FC236}">
                  <a16:creationId xmlns:a16="http://schemas.microsoft.com/office/drawing/2014/main" id="{51785FF9-1DDB-4985-8533-B9BCE029C2ED}"/>
                </a:ext>
              </a:extLst>
            </p:cNvPr>
            <p:cNvGrpSpPr/>
            <p:nvPr/>
          </p:nvGrpSpPr>
          <p:grpSpPr>
            <a:xfrm>
              <a:off x="3555090" y="2586475"/>
              <a:ext cx="3334218" cy="498768"/>
              <a:chOff x="7837970" y="2542018"/>
              <a:chExt cx="3334218" cy="498768"/>
            </a:xfrm>
          </p:grpSpPr>
          <p:sp>
            <p:nvSpPr>
              <p:cNvPr id="474" name="Rectangle: Rounded Corners 473">
                <a:extLst>
                  <a:ext uri="{FF2B5EF4-FFF2-40B4-BE49-F238E27FC236}">
                    <a16:creationId xmlns:a16="http://schemas.microsoft.com/office/drawing/2014/main" id="{CE5CAE59-BAD3-4F2D-A521-2F07EA6963A2}"/>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75" name="Rectangle: Rounded Corners 474">
                <a:extLst>
                  <a:ext uri="{FF2B5EF4-FFF2-40B4-BE49-F238E27FC236}">
                    <a16:creationId xmlns:a16="http://schemas.microsoft.com/office/drawing/2014/main" id="{3C1C62E4-3EBC-4D1C-AC73-245F901FFC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71" name="Group 470">
              <a:extLst>
                <a:ext uri="{FF2B5EF4-FFF2-40B4-BE49-F238E27FC236}">
                  <a16:creationId xmlns:a16="http://schemas.microsoft.com/office/drawing/2014/main" id="{07CE19BA-4658-4106-9C92-7A3C1565120B}"/>
                </a:ext>
              </a:extLst>
            </p:cNvPr>
            <p:cNvGrpSpPr/>
            <p:nvPr/>
          </p:nvGrpSpPr>
          <p:grpSpPr>
            <a:xfrm>
              <a:off x="3591049" y="2630932"/>
              <a:ext cx="3334218" cy="498768"/>
              <a:chOff x="7837970" y="2542018"/>
              <a:chExt cx="3334218" cy="498768"/>
            </a:xfrm>
          </p:grpSpPr>
          <p:sp>
            <p:nvSpPr>
              <p:cNvPr id="472" name="Rectangle: Rounded Corners 471">
                <a:extLst>
                  <a:ext uri="{FF2B5EF4-FFF2-40B4-BE49-F238E27FC236}">
                    <a16:creationId xmlns:a16="http://schemas.microsoft.com/office/drawing/2014/main" id="{FC31C1A7-F627-4F48-9AAD-C6727F95474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473" name="Rectangle: Rounded Corners 472">
                <a:extLst>
                  <a:ext uri="{FF2B5EF4-FFF2-40B4-BE49-F238E27FC236}">
                    <a16:creationId xmlns:a16="http://schemas.microsoft.com/office/drawing/2014/main" id="{82B7B8CA-5453-4322-9AAF-9AD9E501A9C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478" name="Rectangle 477">
            <a:extLst>
              <a:ext uri="{FF2B5EF4-FFF2-40B4-BE49-F238E27FC236}">
                <a16:creationId xmlns:a16="http://schemas.microsoft.com/office/drawing/2014/main" id="{1A35BF2C-1287-402D-AB13-5F8FFEF7C883}"/>
              </a:ext>
            </a:extLst>
          </p:cNvPr>
          <p:cNvSpPr/>
          <p:nvPr/>
        </p:nvSpPr>
        <p:spPr>
          <a:xfrm>
            <a:off x="7988037" y="5678304"/>
            <a:ext cx="1649739" cy="439095"/>
          </a:xfrm>
          <a:prstGeom prst="rect">
            <a:avLst/>
          </a:prstGeom>
        </p:spPr>
        <p:txBody>
          <a:bodyPr wrap="square">
            <a:sp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Azure AD</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Domain Services</a:t>
            </a:r>
          </a:p>
        </p:txBody>
      </p:sp>
      <p:sp>
        <p:nvSpPr>
          <p:cNvPr id="482" name="desktop" title="a desktop PC">
            <a:extLst>
              <a:ext uri="{FF2B5EF4-FFF2-40B4-BE49-F238E27FC236}">
                <a16:creationId xmlns:a16="http://schemas.microsoft.com/office/drawing/2014/main" id="{CE723581-6E1F-4D37-AFE3-FF43F7EE6090}"/>
              </a:ext>
            </a:extLst>
          </p:cNvPr>
          <p:cNvSpPr>
            <a:spLocks noChangeAspect="1" noEditPoints="1"/>
          </p:cNvSpPr>
          <p:nvPr/>
        </p:nvSpPr>
        <p:spPr bwMode="auto">
          <a:xfrm>
            <a:off x="8930300" y="463434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GenericApp_EB3B" title="Icon of an app window">
            <a:extLst>
              <a:ext uri="{FF2B5EF4-FFF2-40B4-BE49-F238E27FC236}">
                <a16:creationId xmlns:a16="http://schemas.microsoft.com/office/drawing/2014/main" id="{3E8927A4-8CA3-42BD-A77C-457C242C1F74}"/>
              </a:ext>
            </a:extLst>
          </p:cNvPr>
          <p:cNvSpPr>
            <a:spLocks noChangeAspect="1" noEditPoints="1"/>
          </p:cNvSpPr>
          <p:nvPr/>
        </p:nvSpPr>
        <p:spPr bwMode="auto">
          <a:xfrm>
            <a:off x="10561450" y="464414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487" name="Rectangle 486">
            <a:extLst>
              <a:ext uri="{FF2B5EF4-FFF2-40B4-BE49-F238E27FC236}">
                <a16:creationId xmlns:a16="http://schemas.microsoft.com/office/drawing/2014/main" id="{74309285-B015-47C2-8073-186395AE4696}"/>
              </a:ext>
            </a:extLst>
          </p:cNvPr>
          <p:cNvSpPr/>
          <p:nvPr/>
        </p:nvSpPr>
        <p:spPr>
          <a:xfrm>
            <a:off x="10051689" y="5689800"/>
            <a:ext cx="1156783" cy="439095"/>
          </a:xfrm>
          <a:prstGeom prst="rect">
            <a:avLst/>
          </a:prstGeom>
        </p:spPr>
        <p:txBody>
          <a:bodyPr wrap="square">
            <a:sp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Azure Files</a:t>
            </a:r>
          </a:p>
        </p:txBody>
      </p:sp>
      <p:grpSp>
        <p:nvGrpSpPr>
          <p:cNvPr id="488" name="Group 487">
            <a:extLst>
              <a:ext uri="{FF2B5EF4-FFF2-40B4-BE49-F238E27FC236}">
                <a16:creationId xmlns:a16="http://schemas.microsoft.com/office/drawing/2014/main" id="{8DF534A6-1C4B-459A-A9C0-17213DB24DBA}"/>
              </a:ext>
            </a:extLst>
          </p:cNvPr>
          <p:cNvGrpSpPr/>
          <p:nvPr/>
        </p:nvGrpSpPr>
        <p:grpSpPr>
          <a:xfrm>
            <a:off x="9293160" y="4576638"/>
            <a:ext cx="1846543" cy="154356"/>
            <a:chOff x="9293160" y="2701454"/>
            <a:chExt cx="1846543" cy="154356"/>
          </a:xfrm>
        </p:grpSpPr>
        <p:sp>
          <p:nvSpPr>
            <p:cNvPr id="489" name="Oval 488">
              <a:extLst>
                <a:ext uri="{FF2B5EF4-FFF2-40B4-BE49-F238E27FC236}">
                  <a16:creationId xmlns:a16="http://schemas.microsoft.com/office/drawing/2014/main" id="{92482B43-5E4A-4A6E-BEEC-92D8960C75B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490" name="Oval 489">
              <a:extLst>
                <a:ext uri="{FF2B5EF4-FFF2-40B4-BE49-F238E27FC236}">
                  <a16:creationId xmlns:a16="http://schemas.microsoft.com/office/drawing/2014/main" id="{573D034F-0A17-426D-840B-F2B296C22348}"/>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491" name="Rectangle 490">
            <a:extLst>
              <a:ext uri="{FF2B5EF4-FFF2-40B4-BE49-F238E27FC236}">
                <a16:creationId xmlns:a16="http://schemas.microsoft.com/office/drawing/2014/main" id="{CE059349-93EB-4863-A30C-F21BF9E72FBA}"/>
              </a:ext>
            </a:extLst>
          </p:cNvPr>
          <p:cNvSpPr/>
          <p:nvPr/>
        </p:nvSpPr>
        <p:spPr>
          <a:xfrm>
            <a:off x="10858778" y="404885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492" name="TextBox 491">
            <a:extLst>
              <a:ext uri="{FF2B5EF4-FFF2-40B4-BE49-F238E27FC236}">
                <a16:creationId xmlns:a16="http://schemas.microsoft.com/office/drawing/2014/main" id="{33645705-3628-49A2-BCFE-1DD27C8ADC50}"/>
              </a:ext>
            </a:extLst>
          </p:cNvPr>
          <p:cNvSpPr txBox="1"/>
          <p:nvPr/>
        </p:nvSpPr>
        <p:spPr>
          <a:xfrm>
            <a:off x="7601977" y="411005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grpSp>
        <p:nvGrpSpPr>
          <p:cNvPr id="493" name="Group 492">
            <a:extLst>
              <a:ext uri="{FF2B5EF4-FFF2-40B4-BE49-F238E27FC236}">
                <a16:creationId xmlns:a16="http://schemas.microsoft.com/office/drawing/2014/main" id="{3EF54E98-EA95-4DF9-89E1-1E035B9553DA}"/>
              </a:ext>
            </a:extLst>
          </p:cNvPr>
          <p:cNvGrpSpPr/>
          <p:nvPr/>
        </p:nvGrpSpPr>
        <p:grpSpPr>
          <a:xfrm>
            <a:off x="7323005" y="4087584"/>
            <a:ext cx="4139967" cy="2034659"/>
            <a:chOff x="7323005" y="3524364"/>
            <a:chExt cx="4139967" cy="2034659"/>
          </a:xfrm>
        </p:grpSpPr>
        <p:sp>
          <p:nvSpPr>
            <p:cNvPr id="494" name="Rectangle 493">
              <a:extLst>
                <a:ext uri="{FF2B5EF4-FFF2-40B4-BE49-F238E27FC236}">
                  <a16:creationId xmlns:a16="http://schemas.microsoft.com/office/drawing/2014/main" id="{44D84892-BC3C-4402-830E-0101BC597229}"/>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95" name="Lock" title="Icon of a padlock">
              <a:extLst>
                <a:ext uri="{FF2B5EF4-FFF2-40B4-BE49-F238E27FC236}">
                  <a16:creationId xmlns:a16="http://schemas.microsoft.com/office/drawing/2014/main" id="{1DC717CF-7618-48BC-9EF8-70CA1BE722F1}"/>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96" name="Group 495">
            <a:extLst>
              <a:ext uri="{FF2B5EF4-FFF2-40B4-BE49-F238E27FC236}">
                <a16:creationId xmlns:a16="http://schemas.microsoft.com/office/drawing/2014/main" id="{AC194937-D413-4CAB-BB21-4F1F6F9229AB}"/>
              </a:ext>
            </a:extLst>
          </p:cNvPr>
          <p:cNvGrpSpPr/>
          <p:nvPr/>
        </p:nvGrpSpPr>
        <p:grpSpPr>
          <a:xfrm>
            <a:off x="7334706" y="3851549"/>
            <a:ext cx="378819" cy="378819"/>
            <a:chOff x="5564119" y="2081144"/>
            <a:chExt cx="501718" cy="501718"/>
          </a:xfrm>
        </p:grpSpPr>
        <p:sp>
          <p:nvSpPr>
            <p:cNvPr id="497" name="Diamond 496">
              <a:extLst>
                <a:ext uri="{FF2B5EF4-FFF2-40B4-BE49-F238E27FC236}">
                  <a16:creationId xmlns:a16="http://schemas.microsoft.com/office/drawing/2014/main" id="{B4372E7E-6B61-4D03-BE2D-A8182477D88F}"/>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98" name="Graphic 497">
              <a:extLst>
                <a:ext uri="{FF2B5EF4-FFF2-40B4-BE49-F238E27FC236}">
                  <a16:creationId xmlns:a16="http://schemas.microsoft.com/office/drawing/2014/main" id="{7A31A466-0C9E-42A2-BDC6-5AD340B187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499" name="Group 498">
            <a:extLst>
              <a:ext uri="{FF2B5EF4-FFF2-40B4-BE49-F238E27FC236}">
                <a16:creationId xmlns:a16="http://schemas.microsoft.com/office/drawing/2014/main" id="{A96F463B-21D6-4F43-B50F-F030EA344316}"/>
              </a:ext>
            </a:extLst>
          </p:cNvPr>
          <p:cNvGrpSpPr/>
          <p:nvPr/>
        </p:nvGrpSpPr>
        <p:grpSpPr>
          <a:xfrm>
            <a:off x="7787505" y="5258366"/>
            <a:ext cx="3406136" cy="587682"/>
            <a:chOff x="3519131" y="2542018"/>
            <a:chExt cx="3406136" cy="587682"/>
          </a:xfrm>
        </p:grpSpPr>
        <p:grpSp>
          <p:nvGrpSpPr>
            <p:cNvPr id="500" name="Group 499">
              <a:extLst>
                <a:ext uri="{FF2B5EF4-FFF2-40B4-BE49-F238E27FC236}">
                  <a16:creationId xmlns:a16="http://schemas.microsoft.com/office/drawing/2014/main" id="{51228D95-D44F-45EA-AC03-0BA428364FC2}"/>
                </a:ext>
              </a:extLst>
            </p:cNvPr>
            <p:cNvGrpSpPr/>
            <p:nvPr/>
          </p:nvGrpSpPr>
          <p:grpSpPr>
            <a:xfrm>
              <a:off x="3519131" y="2542018"/>
              <a:ext cx="3334218" cy="498768"/>
              <a:chOff x="7837970" y="2542018"/>
              <a:chExt cx="3334218" cy="498768"/>
            </a:xfrm>
          </p:grpSpPr>
          <p:sp>
            <p:nvSpPr>
              <p:cNvPr id="507" name="Rectangle: Rounded Corners 506">
                <a:extLst>
                  <a:ext uri="{FF2B5EF4-FFF2-40B4-BE49-F238E27FC236}">
                    <a16:creationId xmlns:a16="http://schemas.microsoft.com/office/drawing/2014/main" id="{546D4CBC-0B13-4B41-852E-2B56553192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08" name="Rectangle: Rounded Corners 507">
                <a:extLst>
                  <a:ext uri="{FF2B5EF4-FFF2-40B4-BE49-F238E27FC236}">
                    <a16:creationId xmlns:a16="http://schemas.microsoft.com/office/drawing/2014/main" id="{E67653B1-19A4-417F-9CA0-8D2FBBED6E0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501" name="Group 500">
              <a:extLst>
                <a:ext uri="{FF2B5EF4-FFF2-40B4-BE49-F238E27FC236}">
                  <a16:creationId xmlns:a16="http://schemas.microsoft.com/office/drawing/2014/main" id="{A0D9FED6-1CBA-4B0E-9348-9C165B4F9E81}"/>
                </a:ext>
              </a:extLst>
            </p:cNvPr>
            <p:cNvGrpSpPr/>
            <p:nvPr/>
          </p:nvGrpSpPr>
          <p:grpSpPr>
            <a:xfrm>
              <a:off x="3555090" y="2586475"/>
              <a:ext cx="3334218" cy="498768"/>
              <a:chOff x="7837970" y="2542018"/>
              <a:chExt cx="3334218" cy="498768"/>
            </a:xfrm>
          </p:grpSpPr>
          <p:sp>
            <p:nvSpPr>
              <p:cNvPr id="505" name="Rectangle: Rounded Corners 504">
                <a:extLst>
                  <a:ext uri="{FF2B5EF4-FFF2-40B4-BE49-F238E27FC236}">
                    <a16:creationId xmlns:a16="http://schemas.microsoft.com/office/drawing/2014/main" id="{A0BDA8C5-9EBC-41C6-B63F-0FB82B6F763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06" name="Rectangle: Rounded Corners 505">
                <a:extLst>
                  <a:ext uri="{FF2B5EF4-FFF2-40B4-BE49-F238E27FC236}">
                    <a16:creationId xmlns:a16="http://schemas.microsoft.com/office/drawing/2014/main" id="{AE3C3103-C7C2-439A-B642-B3469D6CE00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502" name="Group 501">
              <a:extLst>
                <a:ext uri="{FF2B5EF4-FFF2-40B4-BE49-F238E27FC236}">
                  <a16:creationId xmlns:a16="http://schemas.microsoft.com/office/drawing/2014/main" id="{EB917A61-BB37-40ED-BE55-DBA6BB8BB465}"/>
                </a:ext>
              </a:extLst>
            </p:cNvPr>
            <p:cNvGrpSpPr/>
            <p:nvPr/>
          </p:nvGrpSpPr>
          <p:grpSpPr>
            <a:xfrm>
              <a:off x="3591049" y="2630932"/>
              <a:ext cx="3334218" cy="498768"/>
              <a:chOff x="7837970" y="2542018"/>
              <a:chExt cx="3334218" cy="498768"/>
            </a:xfrm>
          </p:grpSpPr>
          <p:sp>
            <p:nvSpPr>
              <p:cNvPr id="503" name="Rectangle: Rounded Corners 502">
                <a:extLst>
                  <a:ext uri="{FF2B5EF4-FFF2-40B4-BE49-F238E27FC236}">
                    <a16:creationId xmlns:a16="http://schemas.microsoft.com/office/drawing/2014/main" id="{7CB1216F-A157-48D7-A103-AAC54A1E03F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504" name="Rectangle: Rounded Corners 503">
                <a:extLst>
                  <a:ext uri="{FF2B5EF4-FFF2-40B4-BE49-F238E27FC236}">
                    <a16:creationId xmlns:a16="http://schemas.microsoft.com/office/drawing/2014/main" id="{1FD526AB-E82B-4C7D-9302-A914E63FB1F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479" name="Group 478">
            <a:extLst>
              <a:ext uri="{FF2B5EF4-FFF2-40B4-BE49-F238E27FC236}">
                <a16:creationId xmlns:a16="http://schemas.microsoft.com/office/drawing/2014/main" id="{0193E5F6-867A-41B8-B085-2A69CBE13AC2}"/>
              </a:ext>
            </a:extLst>
          </p:cNvPr>
          <p:cNvGrpSpPr/>
          <p:nvPr/>
        </p:nvGrpSpPr>
        <p:grpSpPr>
          <a:xfrm>
            <a:off x="8883843" y="5370593"/>
            <a:ext cx="378819" cy="378819"/>
            <a:chOff x="5564119" y="2081144"/>
            <a:chExt cx="501718" cy="501718"/>
          </a:xfrm>
        </p:grpSpPr>
        <p:sp>
          <p:nvSpPr>
            <p:cNvPr id="480" name="Diamond 479">
              <a:extLst>
                <a:ext uri="{FF2B5EF4-FFF2-40B4-BE49-F238E27FC236}">
                  <a16:creationId xmlns:a16="http://schemas.microsoft.com/office/drawing/2014/main" id="{BE3148A7-AE18-45F4-A684-BB7D9CF4FF66}"/>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81" name="Graphic 480">
              <a:extLst>
                <a:ext uri="{FF2B5EF4-FFF2-40B4-BE49-F238E27FC236}">
                  <a16:creationId xmlns:a16="http://schemas.microsoft.com/office/drawing/2014/main" id="{B771A260-3D6E-413E-B421-99867A04F7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484" name="Group 483">
            <a:extLst>
              <a:ext uri="{FF2B5EF4-FFF2-40B4-BE49-F238E27FC236}">
                <a16:creationId xmlns:a16="http://schemas.microsoft.com/office/drawing/2014/main" id="{A1EF7EA4-1A2F-4565-8A41-190B948CFB27}"/>
              </a:ext>
            </a:extLst>
          </p:cNvPr>
          <p:cNvGrpSpPr/>
          <p:nvPr/>
        </p:nvGrpSpPr>
        <p:grpSpPr>
          <a:xfrm>
            <a:off x="10569241" y="5402721"/>
            <a:ext cx="396950" cy="355079"/>
            <a:chOff x="10633596" y="3514287"/>
            <a:chExt cx="396950" cy="355079"/>
          </a:xfrm>
        </p:grpSpPr>
        <p:sp>
          <p:nvSpPr>
            <p:cNvPr id="485" name="Hexagon 484">
              <a:extLst>
                <a:ext uri="{FF2B5EF4-FFF2-40B4-BE49-F238E27FC236}">
                  <a16:creationId xmlns:a16="http://schemas.microsoft.com/office/drawing/2014/main" id="{C02AE93B-4822-4335-982B-50F34F8B1B4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486" name="Picture 485">
              <a:extLst>
                <a:ext uri="{FF2B5EF4-FFF2-40B4-BE49-F238E27FC236}">
                  <a16:creationId xmlns:a16="http://schemas.microsoft.com/office/drawing/2014/main" id="{A3A30AD8-E1AE-4A05-BC8F-D8EA0246DC4D}"/>
                </a:ext>
              </a:extLst>
            </p:cNvPr>
            <p:cNvPicPr>
              <a:picLocks noChangeAspect="1"/>
            </p:cNvPicPr>
            <p:nvPr/>
          </p:nvPicPr>
          <p:blipFill>
            <a:blip r:embed="rId5"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3" name="Group 2">
            <a:extLst>
              <a:ext uri="{FF2B5EF4-FFF2-40B4-BE49-F238E27FC236}">
                <a16:creationId xmlns:a16="http://schemas.microsoft.com/office/drawing/2014/main" id="{5F1D5B31-BF08-4981-982D-2FBD77B30EDD}"/>
              </a:ext>
            </a:extLst>
          </p:cNvPr>
          <p:cNvGrpSpPr/>
          <p:nvPr/>
        </p:nvGrpSpPr>
        <p:grpSpPr>
          <a:xfrm>
            <a:off x="11386669" y="5191916"/>
            <a:ext cx="691267" cy="371833"/>
            <a:chOff x="11386669" y="5655737"/>
            <a:chExt cx="691267" cy="371833"/>
          </a:xfrm>
        </p:grpSpPr>
        <p:cxnSp>
          <p:nvCxnSpPr>
            <p:cNvPr id="213" name="Straight Arrow Connector 212">
              <a:extLst>
                <a:ext uri="{FF2B5EF4-FFF2-40B4-BE49-F238E27FC236}">
                  <a16:creationId xmlns:a16="http://schemas.microsoft.com/office/drawing/2014/main" id="{5F59B1E8-0617-474F-9874-9F79FB20598A}"/>
                </a:ext>
              </a:extLst>
            </p:cNvPr>
            <p:cNvCxnSpPr>
              <a:cxnSpLocks/>
            </p:cNvCxnSpPr>
            <p:nvPr/>
          </p:nvCxnSpPr>
          <p:spPr>
            <a:xfrm>
              <a:off x="11455174" y="5655737"/>
              <a:ext cx="537114" cy="0"/>
            </a:xfrm>
            <a:prstGeom prst="straightConnector1">
              <a:avLst/>
            </a:prstGeom>
            <a:ln w="50800">
              <a:solidFill>
                <a:schemeClr val="accent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1C577203-FB05-4C33-8961-7D6DEE95136D}"/>
                </a:ext>
              </a:extLst>
            </p:cNvPr>
            <p:cNvSpPr/>
            <p:nvPr/>
          </p:nvSpPr>
          <p:spPr>
            <a:xfrm>
              <a:off x="11386669" y="5725970"/>
              <a:ext cx="691267" cy="301600"/>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353535"/>
                  </a:solidFill>
                  <a:effectLst/>
                  <a:uLnTx/>
                  <a:uFillTx/>
                  <a:latin typeface="Segoe Pro Semibold" panose="020B0702040504020203" pitchFamily="34" charset="0"/>
                  <a:ea typeface="+mn-ea"/>
                  <a:cs typeface="Segoe UI Light"/>
                </a:rPr>
                <a:t> VPN</a:t>
              </a:r>
            </a:p>
          </p:txBody>
        </p:sp>
      </p:grpSp>
    </p:spTree>
    <p:extLst>
      <p:ext uri="{BB962C8B-B14F-4D97-AF65-F5344CB8AC3E}">
        <p14:creationId xmlns:p14="http://schemas.microsoft.com/office/powerpoint/2010/main" val="1217990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17">
                                            <p:txEl>
                                              <p:pRg st="1" end="1"/>
                                            </p:txEl>
                                          </p:spTgt>
                                        </p:tgtEl>
                                        <p:attrNameLst>
                                          <p:attrName>style.visibility</p:attrName>
                                        </p:attrNameLst>
                                      </p:cBhvr>
                                      <p:to>
                                        <p:strVal val="visible"/>
                                      </p:to>
                                    </p:set>
                                    <p:animEffect transition="in" filter="fade">
                                      <p:cBhvr>
                                        <p:cTn id="15" dur="500"/>
                                        <p:tgtEl>
                                          <p:spTgt spid="217">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7">
                                            <p:txEl>
                                              <p:pRg st="2" end="2"/>
                                            </p:txEl>
                                          </p:spTgt>
                                        </p:tgtEl>
                                        <p:attrNameLst>
                                          <p:attrName>style.visibility</p:attrName>
                                        </p:attrNameLst>
                                      </p:cBhvr>
                                      <p:to>
                                        <p:strVal val="visible"/>
                                      </p:to>
                                    </p:set>
                                    <p:animEffect transition="in" filter="fade">
                                      <p:cBhvr>
                                        <p:cTn id="20" dur="500"/>
                                        <p:tgtEl>
                                          <p:spTgt spid="217">
                                            <p:txEl>
                                              <p:pRg st="2" end="2"/>
                                            </p:txEl>
                                          </p:spTgt>
                                        </p:tgtEl>
                                      </p:cBhvr>
                                    </p:animEffect>
                                  </p:childTnLst>
                                </p:cTn>
                              </p:par>
                              <p:par>
                                <p:cTn id="21" presetID="1"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Extensible Platform</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1000422"/>
            <a:ext cx="11466035" cy="886744"/>
          </a:xfrm>
          <a:prstGeom prst="rect">
            <a:avLst/>
          </a:prstGeom>
          <a:noFill/>
        </p:spPr>
        <p:txBody>
          <a:bodyPr wrap="square" lIns="179285" tIns="143428" rIns="179285" bIns="143428" rtlCol="0" anchor="t">
            <a:spAutoFit/>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Third-party apps can use PowerShell or REST API to extend Windows Virtual Desktop platform</a:t>
            </a:r>
          </a:p>
          <a:p>
            <a:pPr marL="0" marR="0" lvl="0" indent="0" algn="l" defTabSz="914367" rtl="0" eaLnBrk="1" fontAlgn="auto" latinLnBrk="0" hangingPunct="1">
              <a:lnSpc>
                <a:spcPct val="9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xamples: Deployment automation, VM scaling &amp; provisioning, Web UI to configure, monitor, and troubleshoot, etc.</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p:txBody>
      </p:sp>
      <p:sp>
        <p:nvSpPr>
          <p:cNvPr id="93" name="Rectangle 92">
            <a:extLst>
              <a:ext uri="{FF2B5EF4-FFF2-40B4-BE49-F238E27FC236}">
                <a16:creationId xmlns:a16="http://schemas.microsoft.com/office/drawing/2014/main" id="{B798DDFE-9507-4B1E-934C-6B304F1AC0F1}"/>
              </a:ext>
            </a:extLst>
          </p:cNvPr>
          <p:cNvSpPr/>
          <p:nvPr/>
        </p:nvSpPr>
        <p:spPr bwMode="auto">
          <a:xfrm>
            <a:off x="3069329" y="181828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94" name="Rectangle 93">
            <a:extLst>
              <a:ext uri="{FF2B5EF4-FFF2-40B4-BE49-F238E27FC236}">
                <a16:creationId xmlns:a16="http://schemas.microsoft.com/office/drawing/2014/main" id="{41A3B979-E3BB-4A33-A5D7-ED3B65D65982}"/>
              </a:ext>
            </a:extLst>
          </p:cNvPr>
          <p:cNvSpPr/>
          <p:nvPr/>
        </p:nvSpPr>
        <p:spPr bwMode="auto">
          <a:xfrm>
            <a:off x="3226471" y="268285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95" name="Group 94">
            <a:extLst>
              <a:ext uri="{FF2B5EF4-FFF2-40B4-BE49-F238E27FC236}">
                <a16:creationId xmlns:a16="http://schemas.microsoft.com/office/drawing/2014/main" id="{AC93DDC8-465D-4E78-A8EB-A46973E1F127}"/>
              </a:ext>
            </a:extLst>
          </p:cNvPr>
          <p:cNvGrpSpPr/>
          <p:nvPr/>
        </p:nvGrpSpPr>
        <p:grpSpPr>
          <a:xfrm>
            <a:off x="2842651" y="1818281"/>
            <a:ext cx="187578" cy="3738194"/>
            <a:chOff x="2849277" y="1648178"/>
            <a:chExt cx="187578" cy="3738194"/>
          </a:xfrm>
        </p:grpSpPr>
        <p:cxnSp>
          <p:nvCxnSpPr>
            <p:cNvPr id="96" name="Straight Connector 95">
              <a:extLst>
                <a:ext uri="{FF2B5EF4-FFF2-40B4-BE49-F238E27FC236}">
                  <a16:creationId xmlns:a16="http://schemas.microsoft.com/office/drawing/2014/main" id="{0BE9FA82-D25A-43E6-A855-E707049C26C8}"/>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8" name="Rectangle 97">
              <a:extLst>
                <a:ext uri="{FF2B5EF4-FFF2-40B4-BE49-F238E27FC236}">
                  <a16:creationId xmlns:a16="http://schemas.microsoft.com/office/drawing/2014/main" id="{1E4B77AF-D734-40D8-BF6B-A163C68AD023}"/>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083A462D-6A6C-4A91-85E6-555164FE2B20}"/>
              </a:ext>
            </a:extLst>
          </p:cNvPr>
          <p:cNvGrpSpPr/>
          <p:nvPr/>
        </p:nvGrpSpPr>
        <p:grpSpPr>
          <a:xfrm>
            <a:off x="7031995" y="1914111"/>
            <a:ext cx="155930" cy="3691795"/>
            <a:chOff x="2849277" y="128295"/>
            <a:chExt cx="187578" cy="5258077"/>
          </a:xfrm>
        </p:grpSpPr>
        <p:cxnSp>
          <p:nvCxnSpPr>
            <p:cNvPr id="113" name="Straight Connector 112">
              <a:extLst>
                <a:ext uri="{FF2B5EF4-FFF2-40B4-BE49-F238E27FC236}">
                  <a16:creationId xmlns:a16="http://schemas.microsoft.com/office/drawing/2014/main" id="{53B6A387-28EC-4C5E-8ADF-0DE6A545699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4" name="Rectangle 113">
              <a:extLst>
                <a:ext uri="{FF2B5EF4-FFF2-40B4-BE49-F238E27FC236}">
                  <a16:creationId xmlns:a16="http://schemas.microsoft.com/office/drawing/2014/main" id="{950DD9A9-171E-49C6-B1BC-4789B3A7ACAA}"/>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28E6A583-0D60-4258-A45A-021E09D920F4}"/>
              </a:ext>
            </a:extLst>
          </p:cNvPr>
          <p:cNvSpPr/>
          <p:nvPr/>
        </p:nvSpPr>
        <p:spPr bwMode="auto">
          <a:xfrm>
            <a:off x="7248938" y="1832068"/>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16" name="Rectangle 115">
            <a:extLst>
              <a:ext uri="{FF2B5EF4-FFF2-40B4-BE49-F238E27FC236}">
                <a16:creationId xmlns:a16="http://schemas.microsoft.com/office/drawing/2014/main" id="{BB63350D-A5FF-4502-ABB6-EAA6234CBB3A}"/>
              </a:ext>
            </a:extLst>
          </p:cNvPr>
          <p:cNvSpPr/>
          <p:nvPr/>
        </p:nvSpPr>
        <p:spPr bwMode="auto">
          <a:xfrm>
            <a:off x="588263" y="1818281"/>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17" name="Group 116">
            <a:extLst>
              <a:ext uri="{FF2B5EF4-FFF2-40B4-BE49-F238E27FC236}">
                <a16:creationId xmlns:a16="http://schemas.microsoft.com/office/drawing/2014/main" id="{82CA2E0C-E1C7-445C-BD89-B7DCB62A50CF}"/>
              </a:ext>
            </a:extLst>
          </p:cNvPr>
          <p:cNvGrpSpPr/>
          <p:nvPr/>
        </p:nvGrpSpPr>
        <p:grpSpPr>
          <a:xfrm>
            <a:off x="4994175" y="2993491"/>
            <a:ext cx="1703068" cy="587682"/>
            <a:chOff x="4908037" y="3834996"/>
            <a:chExt cx="1703068" cy="587682"/>
          </a:xfrm>
        </p:grpSpPr>
        <p:sp>
          <p:nvSpPr>
            <p:cNvPr id="118" name="Rectangle: Rounded Corners 117">
              <a:extLst>
                <a:ext uri="{FF2B5EF4-FFF2-40B4-BE49-F238E27FC236}">
                  <a16:creationId xmlns:a16="http://schemas.microsoft.com/office/drawing/2014/main" id="{A9B4EC40-6226-466A-B353-2D49AD03E84B}"/>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4B1C7265-335C-426F-AAD6-903900D9E218}"/>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0" name="Rectangle: Rounded Corners 119">
              <a:extLst>
                <a:ext uri="{FF2B5EF4-FFF2-40B4-BE49-F238E27FC236}">
                  <a16:creationId xmlns:a16="http://schemas.microsoft.com/office/drawing/2014/main" id="{EB22FB09-E9C6-4249-AF38-608FB7D441BA}"/>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4" name="algorithm" title="Icon of a heartbeat">
              <a:extLst>
                <a:ext uri="{FF2B5EF4-FFF2-40B4-BE49-F238E27FC236}">
                  <a16:creationId xmlns:a16="http://schemas.microsoft.com/office/drawing/2014/main" id="{FD2BEC54-60DC-4E9A-B382-8E1C93F35DAB}"/>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38725769-C102-4271-9630-0864D2F3BAE5}"/>
              </a:ext>
            </a:extLst>
          </p:cNvPr>
          <p:cNvGrpSpPr/>
          <p:nvPr/>
        </p:nvGrpSpPr>
        <p:grpSpPr>
          <a:xfrm>
            <a:off x="4994175" y="3858456"/>
            <a:ext cx="1703068" cy="587682"/>
            <a:chOff x="4908037" y="4699961"/>
            <a:chExt cx="1703068" cy="587682"/>
          </a:xfrm>
        </p:grpSpPr>
        <p:sp>
          <p:nvSpPr>
            <p:cNvPr id="126" name="Rectangle: Rounded Corners 125">
              <a:extLst>
                <a:ext uri="{FF2B5EF4-FFF2-40B4-BE49-F238E27FC236}">
                  <a16:creationId xmlns:a16="http://schemas.microsoft.com/office/drawing/2014/main" id="{0D630FEC-585E-40A3-8B11-5AECF099C6F4}"/>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E1740603-FC64-44B2-A53E-F2F7768FEF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7100C366-84E3-430A-85DD-7251D7C9433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37" name="Straight Connector 136">
              <a:extLst>
                <a:ext uri="{FF2B5EF4-FFF2-40B4-BE49-F238E27FC236}">
                  <a16:creationId xmlns:a16="http://schemas.microsoft.com/office/drawing/2014/main" id="{8214A393-0FC3-4944-82A6-CEE48D7C6A30}"/>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6233CD1-BAA8-47D0-81F0-1027172BDB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B753E8-703A-429F-B055-B9456C5B9102}"/>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1" name="Rectangle 140">
            <a:extLst>
              <a:ext uri="{FF2B5EF4-FFF2-40B4-BE49-F238E27FC236}">
                <a16:creationId xmlns:a16="http://schemas.microsoft.com/office/drawing/2014/main" id="{B233EC49-9727-42D0-BE44-60D037BDAFDB}"/>
              </a:ext>
            </a:extLst>
          </p:cNvPr>
          <p:cNvSpPr/>
          <p:nvPr/>
        </p:nvSpPr>
        <p:spPr bwMode="auto">
          <a:xfrm>
            <a:off x="7518174" y="2682859"/>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46" name="Group 145">
            <a:extLst>
              <a:ext uri="{FF2B5EF4-FFF2-40B4-BE49-F238E27FC236}">
                <a16:creationId xmlns:a16="http://schemas.microsoft.com/office/drawing/2014/main" id="{8E143F0C-E82C-4C78-9009-9CE725B28857}"/>
              </a:ext>
            </a:extLst>
          </p:cNvPr>
          <p:cNvGrpSpPr/>
          <p:nvPr/>
        </p:nvGrpSpPr>
        <p:grpSpPr>
          <a:xfrm>
            <a:off x="7787505" y="3041331"/>
            <a:ext cx="3406136" cy="587682"/>
            <a:chOff x="3519131" y="2542018"/>
            <a:chExt cx="3406136" cy="587682"/>
          </a:xfrm>
        </p:grpSpPr>
        <p:grpSp>
          <p:nvGrpSpPr>
            <p:cNvPr id="147" name="Group 146">
              <a:extLst>
                <a:ext uri="{FF2B5EF4-FFF2-40B4-BE49-F238E27FC236}">
                  <a16:creationId xmlns:a16="http://schemas.microsoft.com/office/drawing/2014/main" id="{C570CD86-6AB4-4316-88A5-004DED34C4E3}"/>
                </a:ext>
              </a:extLst>
            </p:cNvPr>
            <p:cNvGrpSpPr/>
            <p:nvPr/>
          </p:nvGrpSpPr>
          <p:grpSpPr>
            <a:xfrm>
              <a:off x="3519131" y="2542018"/>
              <a:ext cx="3334218" cy="498768"/>
              <a:chOff x="7837970" y="2542018"/>
              <a:chExt cx="3334218" cy="498768"/>
            </a:xfrm>
          </p:grpSpPr>
          <p:sp>
            <p:nvSpPr>
              <p:cNvPr id="154" name="Rectangle: Rounded Corners 153">
                <a:extLst>
                  <a:ext uri="{FF2B5EF4-FFF2-40B4-BE49-F238E27FC236}">
                    <a16:creationId xmlns:a16="http://schemas.microsoft.com/office/drawing/2014/main" id="{943200B6-BCBD-4A58-A252-EEA006B1BAB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5" name="Rectangle: Rounded Corners 154">
                <a:extLst>
                  <a:ext uri="{FF2B5EF4-FFF2-40B4-BE49-F238E27FC236}">
                    <a16:creationId xmlns:a16="http://schemas.microsoft.com/office/drawing/2014/main" id="{C49E3DB5-3D15-4E7E-B311-7918BAF026E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D9B8EAD1-D717-40AE-AE3E-F196FB136E48}"/>
                </a:ext>
              </a:extLst>
            </p:cNvPr>
            <p:cNvGrpSpPr/>
            <p:nvPr/>
          </p:nvGrpSpPr>
          <p:grpSpPr>
            <a:xfrm>
              <a:off x="3555090" y="2586475"/>
              <a:ext cx="3334218" cy="498768"/>
              <a:chOff x="7837970" y="2542018"/>
              <a:chExt cx="3334218" cy="498768"/>
            </a:xfrm>
          </p:grpSpPr>
          <p:sp>
            <p:nvSpPr>
              <p:cNvPr id="152" name="Rectangle: Rounded Corners 151">
                <a:extLst>
                  <a:ext uri="{FF2B5EF4-FFF2-40B4-BE49-F238E27FC236}">
                    <a16:creationId xmlns:a16="http://schemas.microsoft.com/office/drawing/2014/main" id="{221B3EC9-27C2-4F43-907D-9ADB0EEA1FD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BBCE10EA-F291-401D-9578-D0F5DB285C7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9" name="Group 148">
              <a:extLst>
                <a:ext uri="{FF2B5EF4-FFF2-40B4-BE49-F238E27FC236}">
                  <a16:creationId xmlns:a16="http://schemas.microsoft.com/office/drawing/2014/main" id="{0332BE36-7732-4A20-842C-2559971DEA42}"/>
                </a:ext>
              </a:extLst>
            </p:cNvPr>
            <p:cNvGrpSpPr/>
            <p:nvPr/>
          </p:nvGrpSpPr>
          <p:grpSpPr>
            <a:xfrm>
              <a:off x="3591049" y="2630932"/>
              <a:ext cx="3334218" cy="498768"/>
              <a:chOff x="7837970" y="2542018"/>
              <a:chExt cx="3334218" cy="498768"/>
            </a:xfrm>
          </p:grpSpPr>
          <p:sp>
            <p:nvSpPr>
              <p:cNvPr id="150" name="Rectangle: Rounded Corners 149">
                <a:extLst>
                  <a:ext uri="{FF2B5EF4-FFF2-40B4-BE49-F238E27FC236}">
                    <a16:creationId xmlns:a16="http://schemas.microsoft.com/office/drawing/2014/main" id="{8A9E9089-BE24-4D68-A917-D9E05870D3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51" name="Rectangle: Rounded Corners 150">
                <a:extLst>
                  <a:ext uri="{FF2B5EF4-FFF2-40B4-BE49-F238E27FC236}">
                    <a16:creationId xmlns:a16="http://schemas.microsoft.com/office/drawing/2014/main" id="{649C7534-D9AA-4788-811C-50E7F7955CE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60" name="desktop" title="a desktop PC">
            <a:extLst>
              <a:ext uri="{FF2B5EF4-FFF2-40B4-BE49-F238E27FC236}">
                <a16:creationId xmlns:a16="http://schemas.microsoft.com/office/drawing/2014/main" id="{A2D1E26E-BC2A-4EEC-95E8-98EA2E76E0BC}"/>
              </a:ext>
            </a:extLst>
          </p:cNvPr>
          <p:cNvSpPr>
            <a:spLocks noChangeAspect="1" noEditPoints="1"/>
          </p:cNvSpPr>
          <p:nvPr/>
        </p:nvSpPr>
        <p:spPr bwMode="auto">
          <a:xfrm>
            <a:off x="8930300" y="3229616"/>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GenericApp_EB3B" title="Icon of an app window">
            <a:extLst>
              <a:ext uri="{FF2B5EF4-FFF2-40B4-BE49-F238E27FC236}">
                <a16:creationId xmlns:a16="http://schemas.microsoft.com/office/drawing/2014/main" id="{DA94E549-9251-4436-88CE-FE860C70E70B}"/>
              </a:ext>
            </a:extLst>
          </p:cNvPr>
          <p:cNvSpPr>
            <a:spLocks noChangeAspect="1" noEditPoints="1"/>
          </p:cNvSpPr>
          <p:nvPr/>
        </p:nvSpPr>
        <p:spPr bwMode="auto">
          <a:xfrm>
            <a:off x="10561450" y="3239417"/>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166" name="Group 165">
            <a:extLst>
              <a:ext uri="{FF2B5EF4-FFF2-40B4-BE49-F238E27FC236}">
                <a16:creationId xmlns:a16="http://schemas.microsoft.com/office/drawing/2014/main" id="{2BFE8B12-02DD-4462-BE67-EB001638D83F}"/>
              </a:ext>
            </a:extLst>
          </p:cNvPr>
          <p:cNvGrpSpPr/>
          <p:nvPr/>
        </p:nvGrpSpPr>
        <p:grpSpPr>
          <a:xfrm>
            <a:off x="9293160" y="3171913"/>
            <a:ext cx="1846543" cy="154356"/>
            <a:chOff x="9293160" y="2701454"/>
            <a:chExt cx="1846543" cy="154356"/>
          </a:xfrm>
        </p:grpSpPr>
        <p:sp>
          <p:nvSpPr>
            <p:cNvPr id="169" name="Oval 168">
              <a:extLst>
                <a:ext uri="{FF2B5EF4-FFF2-40B4-BE49-F238E27FC236}">
                  <a16:creationId xmlns:a16="http://schemas.microsoft.com/office/drawing/2014/main" id="{32270434-45C3-4DC4-BDC8-4484FEE02C17}"/>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71" name="Oval 170">
              <a:extLst>
                <a:ext uri="{FF2B5EF4-FFF2-40B4-BE49-F238E27FC236}">
                  <a16:creationId xmlns:a16="http://schemas.microsoft.com/office/drawing/2014/main" id="{701A12FA-01DD-48E7-87C3-A11262E8EBB5}"/>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185" name="Group 184">
            <a:extLst>
              <a:ext uri="{FF2B5EF4-FFF2-40B4-BE49-F238E27FC236}">
                <a16:creationId xmlns:a16="http://schemas.microsoft.com/office/drawing/2014/main" id="{9568D03F-52F6-4810-AD30-3A025FDC577D}"/>
              </a:ext>
            </a:extLst>
          </p:cNvPr>
          <p:cNvGrpSpPr/>
          <p:nvPr/>
        </p:nvGrpSpPr>
        <p:grpSpPr>
          <a:xfrm>
            <a:off x="899303" y="2499551"/>
            <a:ext cx="1626420" cy="2908602"/>
            <a:chOff x="899303" y="2229846"/>
            <a:chExt cx="1626420" cy="2908602"/>
          </a:xfrm>
        </p:grpSpPr>
        <p:sp>
          <p:nvSpPr>
            <p:cNvPr id="187" name="Oval 186">
              <a:extLst>
                <a:ext uri="{FF2B5EF4-FFF2-40B4-BE49-F238E27FC236}">
                  <a16:creationId xmlns:a16="http://schemas.microsoft.com/office/drawing/2014/main" id="{10DFD45D-85B2-410C-9710-D913CE90807D}"/>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3" name="Oval 192">
              <a:extLst>
                <a:ext uri="{FF2B5EF4-FFF2-40B4-BE49-F238E27FC236}">
                  <a16:creationId xmlns:a16="http://schemas.microsoft.com/office/drawing/2014/main" id="{C5F7F1D6-EB7C-4A07-844D-86FA3856F193}"/>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4" name="Oval 193">
              <a:extLst>
                <a:ext uri="{FF2B5EF4-FFF2-40B4-BE49-F238E27FC236}">
                  <a16:creationId xmlns:a16="http://schemas.microsoft.com/office/drawing/2014/main" id="{87A6BCB0-EAF5-41ED-9B5C-02FDCA61B57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95" name="Group 194">
              <a:extLst>
                <a:ext uri="{FF2B5EF4-FFF2-40B4-BE49-F238E27FC236}">
                  <a16:creationId xmlns:a16="http://schemas.microsoft.com/office/drawing/2014/main" id="{7C280CDA-CBCE-4D61-A2C7-C39E8147EE9C}"/>
                </a:ext>
              </a:extLst>
            </p:cNvPr>
            <p:cNvGrpSpPr/>
            <p:nvPr/>
          </p:nvGrpSpPr>
          <p:grpSpPr>
            <a:xfrm>
              <a:off x="2043658" y="2532747"/>
              <a:ext cx="482065" cy="2255907"/>
              <a:chOff x="2224274" y="2338191"/>
              <a:chExt cx="482065" cy="2255907"/>
            </a:xfrm>
          </p:grpSpPr>
          <p:grpSp>
            <p:nvGrpSpPr>
              <p:cNvPr id="199" name="Group 198">
                <a:extLst>
                  <a:ext uri="{FF2B5EF4-FFF2-40B4-BE49-F238E27FC236}">
                    <a16:creationId xmlns:a16="http://schemas.microsoft.com/office/drawing/2014/main" id="{AD1BC2DF-E498-4498-BE45-4AB423DA84F9}"/>
                  </a:ext>
                </a:extLst>
              </p:cNvPr>
              <p:cNvGrpSpPr/>
              <p:nvPr/>
            </p:nvGrpSpPr>
            <p:grpSpPr>
              <a:xfrm>
                <a:off x="2281302" y="3639439"/>
                <a:ext cx="319498" cy="414180"/>
                <a:chOff x="5866856" y="4829242"/>
                <a:chExt cx="702675" cy="865083"/>
              </a:xfrm>
            </p:grpSpPr>
            <p:sp>
              <p:nvSpPr>
                <p:cNvPr id="212" name="Freeform 12">
                  <a:extLst>
                    <a:ext uri="{FF2B5EF4-FFF2-40B4-BE49-F238E27FC236}">
                      <a16:creationId xmlns:a16="http://schemas.microsoft.com/office/drawing/2014/main" id="{1B042CB9-DB4E-408F-BF39-517E735FF3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3">
                  <a:extLst>
                    <a:ext uri="{FF2B5EF4-FFF2-40B4-BE49-F238E27FC236}">
                      <a16:creationId xmlns:a16="http://schemas.microsoft.com/office/drawing/2014/main" id="{C54700DB-13CF-4450-BC09-C59808114708}"/>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3" name="Group 202">
                <a:extLst>
                  <a:ext uri="{FF2B5EF4-FFF2-40B4-BE49-F238E27FC236}">
                    <a16:creationId xmlns:a16="http://schemas.microsoft.com/office/drawing/2014/main" id="{D249886F-B833-4EF9-896E-06A4FF9416EA}"/>
                  </a:ext>
                </a:extLst>
              </p:cNvPr>
              <p:cNvGrpSpPr/>
              <p:nvPr/>
            </p:nvGrpSpPr>
            <p:grpSpPr>
              <a:xfrm>
                <a:off x="2286418" y="3019895"/>
                <a:ext cx="335350" cy="419905"/>
                <a:chOff x="13987161" y="3323588"/>
                <a:chExt cx="2047876" cy="2435225"/>
              </a:xfrm>
              <a:solidFill>
                <a:schemeClr val="bg1"/>
              </a:solidFill>
            </p:grpSpPr>
            <p:sp>
              <p:nvSpPr>
                <p:cNvPr id="208" name="Freeform 50">
                  <a:extLst>
                    <a:ext uri="{FF2B5EF4-FFF2-40B4-BE49-F238E27FC236}">
                      <a16:creationId xmlns:a16="http://schemas.microsoft.com/office/drawing/2014/main" id="{C214C05F-95AB-4957-8783-086F054939A0}"/>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51">
                  <a:extLst>
                    <a:ext uri="{FF2B5EF4-FFF2-40B4-BE49-F238E27FC236}">
                      <a16:creationId xmlns:a16="http://schemas.microsoft.com/office/drawing/2014/main" id="{021CCF71-4A63-4CA1-820A-01C8B59EA944}"/>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52">
                  <a:extLst>
                    <a:ext uri="{FF2B5EF4-FFF2-40B4-BE49-F238E27FC236}">
                      <a16:creationId xmlns:a16="http://schemas.microsoft.com/office/drawing/2014/main" id="{4DD50FDB-00A3-4BB6-BD1E-7CAFF8D4160D}"/>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53">
                  <a:extLst>
                    <a:ext uri="{FF2B5EF4-FFF2-40B4-BE49-F238E27FC236}">
                      <a16:creationId xmlns:a16="http://schemas.microsoft.com/office/drawing/2014/main" id="{37E539B4-8726-4F8D-BD31-EBBA240A0B8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6" name="Picture 205">
                <a:extLst>
                  <a:ext uri="{FF2B5EF4-FFF2-40B4-BE49-F238E27FC236}">
                    <a16:creationId xmlns:a16="http://schemas.microsoft.com/office/drawing/2014/main" id="{326FBC4E-1FFD-4D17-8253-AB0A05BBC6EF}"/>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07" name="Picture 206">
                <a:extLst>
                  <a:ext uri="{FF2B5EF4-FFF2-40B4-BE49-F238E27FC236}">
                    <a16:creationId xmlns:a16="http://schemas.microsoft.com/office/drawing/2014/main" id="{6153088A-A4AB-40DF-B8C8-9701E3C8B3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96" name="CellPhone_E8EA" title="Icon of a cellphone">
              <a:extLst>
                <a:ext uri="{FF2B5EF4-FFF2-40B4-BE49-F238E27FC236}">
                  <a16:creationId xmlns:a16="http://schemas.microsoft.com/office/drawing/2014/main" id="{C8D25D82-425D-4113-8979-B2B2F5F3C71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Laptop_E770" title="Icon of a laptop">
              <a:extLst>
                <a:ext uri="{FF2B5EF4-FFF2-40B4-BE49-F238E27FC236}">
                  <a16:creationId xmlns:a16="http://schemas.microsoft.com/office/drawing/2014/main" id="{36952636-64F4-40F6-A6BA-49769B6B1D16}"/>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Tablet_E70A" title="Icon of a tablet">
              <a:extLst>
                <a:ext uri="{FF2B5EF4-FFF2-40B4-BE49-F238E27FC236}">
                  <a16:creationId xmlns:a16="http://schemas.microsoft.com/office/drawing/2014/main" id="{0CB3680D-EF83-47E1-9170-A44014978D73}"/>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8" name="Rectangle 217">
            <a:extLst>
              <a:ext uri="{FF2B5EF4-FFF2-40B4-BE49-F238E27FC236}">
                <a16:creationId xmlns:a16="http://schemas.microsoft.com/office/drawing/2014/main" id="{BE904DE9-321D-461B-8CED-FC784D63B570}"/>
              </a:ext>
            </a:extLst>
          </p:cNvPr>
          <p:cNvSpPr/>
          <p:nvPr/>
        </p:nvSpPr>
        <p:spPr>
          <a:xfrm>
            <a:off x="10858778" y="2644134"/>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19" name="Right Bracket 218">
            <a:extLst>
              <a:ext uri="{FF2B5EF4-FFF2-40B4-BE49-F238E27FC236}">
                <a16:creationId xmlns:a16="http://schemas.microsoft.com/office/drawing/2014/main" id="{2FAE7489-BBA0-4F08-AE78-CFB975137BDA}"/>
              </a:ext>
            </a:extLst>
          </p:cNvPr>
          <p:cNvSpPr/>
          <p:nvPr/>
        </p:nvSpPr>
        <p:spPr>
          <a:xfrm>
            <a:off x="2521216" y="2769500"/>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20" name="Group 219">
            <a:extLst>
              <a:ext uri="{FF2B5EF4-FFF2-40B4-BE49-F238E27FC236}">
                <a16:creationId xmlns:a16="http://schemas.microsoft.com/office/drawing/2014/main" id="{2231AB43-4A9D-4D36-AEC1-5A16A596F30A}"/>
              </a:ext>
            </a:extLst>
          </p:cNvPr>
          <p:cNvGrpSpPr/>
          <p:nvPr/>
        </p:nvGrpSpPr>
        <p:grpSpPr>
          <a:xfrm>
            <a:off x="3291107" y="3858456"/>
            <a:ext cx="1703068" cy="587682"/>
            <a:chOff x="3204969" y="4699961"/>
            <a:chExt cx="1703068" cy="587682"/>
          </a:xfrm>
        </p:grpSpPr>
        <p:sp>
          <p:nvSpPr>
            <p:cNvPr id="221" name="Rectangle: Rounded Corners 220">
              <a:extLst>
                <a:ext uri="{FF2B5EF4-FFF2-40B4-BE49-F238E27FC236}">
                  <a16:creationId xmlns:a16="http://schemas.microsoft.com/office/drawing/2014/main" id="{8CBF1A00-2164-4A67-AC94-5E0A18A8B5D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2" name="Rectangle: Rounded Corners 221">
              <a:extLst>
                <a:ext uri="{FF2B5EF4-FFF2-40B4-BE49-F238E27FC236}">
                  <a16:creationId xmlns:a16="http://schemas.microsoft.com/office/drawing/2014/main" id="{639858CD-61D1-4C9D-897C-72AD3D7C84C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3" name="Rectangle: Rounded Corners 222">
              <a:extLst>
                <a:ext uri="{FF2B5EF4-FFF2-40B4-BE49-F238E27FC236}">
                  <a16:creationId xmlns:a16="http://schemas.microsoft.com/office/drawing/2014/main" id="{DCFAA97A-2928-4C83-90CF-4E2F380795C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24" name="Move_E7C2" title="Icon of four arrows pointing away from eachother">
              <a:extLst>
                <a:ext uri="{FF2B5EF4-FFF2-40B4-BE49-F238E27FC236}">
                  <a16:creationId xmlns:a16="http://schemas.microsoft.com/office/drawing/2014/main" id="{04534B37-9866-4238-880F-E9294C7AE05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334E11FC-7FBC-4C4B-87B2-5D4614A48FB4}"/>
              </a:ext>
            </a:extLst>
          </p:cNvPr>
          <p:cNvGrpSpPr/>
          <p:nvPr/>
        </p:nvGrpSpPr>
        <p:grpSpPr>
          <a:xfrm>
            <a:off x="3291107" y="2993491"/>
            <a:ext cx="1703068" cy="587682"/>
            <a:chOff x="3204969" y="3834996"/>
            <a:chExt cx="1703068" cy="587682"/>
          </a:xfrm>
        </p:grpSpPr>
        <p:sp>
          <p:nvSpPr>
            <p:cNvPr id="227" name="Rectangle: Rounded Corners 226">
              <a:extLst>
                <a:ext uri="{FF2B5EF4-FFF2-40B4-BE49-F238E27FC236}">
                  <a16:creationId xmlns:a16="http://schemas.microsoft.com/office/drawing/2014/main" id="{E8EC3C4C-7CE6-4B6C-9356-413261F2178E}"/>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8" name="Rectangle: Rounded Corners 227">
              <a:extLst>
                <a:ext uri="{FF2B5EF4-FFF2-40B4-BE49-F238E27FC236}">
                  <a16:creationId xmlns:a16="http://schemas.microsoft.com/office/drawing/2014/main" id="{4C924E75-6008-49F5-829F-5C683E915D28}"/>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9" name="Rectangle: Rounded Corners 228">
              <a:extLst>
                <a:ext uri="{FF2B5EF4-FFF2-40B4-BE49-F238E27FC236}">
                  <a16:creationId xmlns:a16="http://schemas.microsoft.com/office/drawing/2014/main" id="{0DE5182E-5CE3-45AA-8CE9-9225AAF40B9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30" name="globe_2" title="Icon of a sphere made of lines">
              <a:extLst>
                <a:ext uri="{FF2B5EF4-FFF2-40B4-BE49-F238E27FC236}">
                  <a16:creationId xmlns:a16="http://schemas.microsoft.com/office/drawing/2014/main" id="{0BFA8386-6027-4FE1-98D3-A193E67B8A3D}"/>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32" name="TextBox 231">
            <a:extLst>
              <a:ext uri="{FF2B5EF4-FFF2-40B4-BE49-F238E27FC236}">
                <a16:creationId xmlns:a16="http://schemas.microsoft.com/office/drawing/2014/main" id="{95656F01-566B-4EC9-AD12-DF23415A72EE}"/>
              </a:ext>
            </a:extLst>
          </p:cNvPr>
          <p:cNvSpPr txBox="1"/>
          <p:nvPr/>
        </p:nvSpPr>
        <p:spPr>
          <a:xfrm>
            <a:off x="7601977" y="2705334"/>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grpSp>
        <p:nvGrpSpPr>
          <p:cNvPr id="143" name="Group 142">
            <a:extLst>
              <a:ext uri="{FF2B5EF4-FFF2-40B4-BE49-F238E27FC236}">
                <a16:creationId xmlns:a16="http://schemas.microsoft.com/office/drawing/2014/main" id="{CBDCF289-1A10-4BF5-9F2B-23B486D5D1D6}"/>
              </a:ext>
            </a:extLst>
          </p:cNvPr>
          <p:cNvGrpSpPr/>
          <p:nvPr/>
        </p:nvGrpSpPr>
        <p:grpSpPr>
          <a:xfrm>
            <a:off x="7334706" y="2446824"/>
            <a:ext cx="378819" cy="378819"/>
            <a:chOff x="5564119" y="2081144"/>
            <a:chExt cx="501718" cy="501718"/>
          </a:xfrm>
        </p:grpSpPr>
        <p:sp>
          <p:nvSpPr>
            <p:cNvPr id="144" name="Diamond 143">
              <a:extLst>
                <a:ext uri="{FF2B5EF4-FFF2-40B4-BE49-F238E27FC236}">
                  <a16:creationId xmlns:a16="http://schemas.microsoft.com/office/drawing/2014/main" id="{2E2D7B2B-737C-4BF3-8CC1-9A88A4FD11CC}"/>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5" name="Graphic 144">
              <a:extLst>
                <a:ext uri="{FF2B5EF4-FFF2-40B4-BE49-F238E27FC236}">
                  <a16:creationId xmlns:a16="http://schemas.microsoft.com/office/drawing/2014/main" id="{45FED9B2-96EE-4DE9-BB58-2BD5B218E2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grpSp>
        <p:nvGrpSpPr>
          <p:cNvPr id="102" name="Group 101">
            <a:extLst>
              <a:ext uri="{FF2B5EF4-FFF2-40B4-BE49-F238E27FC236}">
                <a16:creationId xmlns:a16="http://schemas.microsoft.com/office/drawing/2014/main" id="{FDCA1385-7EA4-4040-8A6B-37690512DAC1}"/>
              </a:ext>
            </a:extLst>
          </p:cNvPr>
          <p:cNvGrpSpPr/>
          <p:nvPr/>
        </p:nvGrpSpPr>
        <p:grpSpPr>
          <a:xfrm>
            <a:off x="5067980" y="4444509"/>
            <a:ext cx="1631150" cy="498768"/>
            <a:chOff x="6096000" y="229817"/>
            <a:chExt cx="1631150" cy="498768"/>
          </a:xfrm>
        </p:grpSpPr>
        <p:sp>
          <p:nvSpPr>
            <p:cNvPr id="103" name="Rectangle: Rounded Corners 102">
              <a:extLst>
                <a:ext uri="{FF2B5EF4-FFF2-40B4-BE49-F238E27FC236}">
                  <a16:creationId xmlns:a16="http://schemas.microsoft.com/office/drawing/2014/main" id="{F77CE8D6-D420-4E6D-9683-98098F87D58C}"/>
                </a:ext>
              </a:extLst>
            </p:cNvPr>
            <p:cNvSpPr/>
            <p:nvPr/>
          </p:nvSpPr>
          <p:spPr bwMode="auto">
            <a:xfrm>
              <a:off x="6096000" y="22981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104" name="cloud_2" title="Icon of a cloud made of two arrows pointing towards eachother">
              <a:extLst>
                <a:ext uri="{FF2B5EF4-FFF2-40B4-BE49-F238E27FC236}">
                  <a16:creationId xmlns:a16="http://schemas.microsoft.com/office/drawing/2014/main" id="{A6968CBC-495B-4C52-85EA-EFD3EBF35AD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AB1ED1-8919-4439-86D6-AAD97019127D}"/>
              </a:ext>
            </a:extLst>
          </p:cNvPr>
          <p:cNvGrpSpPr/>
          <p:nvPr/>
        </p:nvGrpSpPr>
        <p:grpSpPr>
          <a:xfrm>
            <a:off x="2021038" y="5948677"/>
            <a:ext cx="998400" cy="842512"/>
            <a:chOff x="1027378" y="5234783"/>
            <a:chExt cx="998400" cy="842512"/>
          </a:xfrm>
        </p:grpSpPr>
        <p:grpSp>
          <p:nvGrpSpPr>
            <p:cNvPr id="107" name="Group 106">
              <a:extLst>
                <a:ext uri="{FF2B5EF4-FFF2-40B4-BE49-F238E27FC236}">
                  <a16:creationId xmlns:a16="http://schemas.microsoft.com/office/drawing/2014/main" id="{22987068-88BD-4EE8-B352-F701FFF402DF}"/>
                </a:ext>
              </a:extLst>
            </p:cNvPr>
            <p:cNvGrpSpPr/>
            <p:nvPr/>
          </p:nvGrpSpPr>
          <p:grpSpPr>
            <a:xfrm>
              <a:off x="1205087" y="5234783"/>
              <a:ext cx="638099" cy="576748"/>
              <a:chOff x="1105093" y="4259263"/>
              <a:chExt cx="650894" cy="588313"/>
            </a:xfrm>
          </p:grpSpPr>
          <p:sp>
            <p:nvSpPr>
              <p:cNvPr id="109" name="Rectangle: Rounded Corners 108">
                <a:extLst>
                  <a:ext uri="{FF2B5EF4-FFF2-40B4-BE49-F238E27FC236}">
                    <a16:creationId xmlns:a16="http://schemas.microsoft.com/office/drawing/2014/main" id="{264AF5B8-4A85-407E-A1F1-2A1A80CE5EB2}"/>
                  </a:ext>
                </a:extLst>
              </p:cNvPr>
              <p:cNvSpPr/>
              <p:nvPr/>
            </p:nvSpPr>
            <p:spPr bwMode="auto">
              <a:xfrm>
                <a:off x="1105093" y="4259263"/>
                <a:ext cx="650894" cy="588313"/>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Picture 109">
                <a:extLst>
                  <a:ext uri="{FF2B5EF4-FFF2-40B4-BE49-F238E27FC236}">
                    <a16:creationId xmlns:a16="http://schemas.microsoft.com/office/drawing/2014/main" id="{6554E436-A03B-418C-A437-EF44EB4D589B}"/>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6000" y1="81200" x2="56000" y2="81200"/>
                          </a14:backgroundRemoval>
                        </a14:imgEffect>
                      </a14:imgLayer>
                    </a14:imgProps>
                  </a:ext>
                  <a:ext uri="{28A0092B-C50C-407E-A947-70E740481C1C}">
                    <a14:useLocalDpi xmlns:a14="http://schemas.microsoft.com/office/drawing/2010/main"/>
                  </a:ext>
                </a:extLst>
              </a:blip>
              <a:stretch>
                <a:fillRect/>
              </a:stretch>
            </p:blipFill>
            <p:spPr>
              <a:xfrm>
                <a:off x="1200937" y="4319491"/>
                <a:ext cx="448657" cy="448656"/>
              </a:xfrm>
              <a:prstGeom prst="rect">
                <a:avLst/>
              </a:prstGeom>
            </p:spPr>
          </p:pic>
        </p:grpSp>
        <p:sp>
          <p:nvSpPr>
            <p:cNvPr id="108" name="Rectangle 107">
              <a:extLst>
                <a:ext uri="{FF2B5EF4-FFF2-40B4-BE49-F238E27FC236}">
                  <a16:creationId xmlns:a16="http://schemas.microsoft.com/office/drawing/2014/main" id="{96266456-640C-4D3A-9607-58CD2C3AA2D0}"/>
                </a:ext>
              </a:extLst>
            </p:cNvPr>
            <p:cNvSpPr/>
            <p:nvPr/>
          </p:nvSpPr>
          <p:spPr>
            <a:xfrm>
              <a:off x="1027378" y="5800296"/>
              <a:ext cx="998400" cy="276999"/>
            </a:xfrm>
            <a:prstGeom prst="rect">
              <a:avLst/>
            </a:prstGeom>
          </p:spPr>
          <p:txBody>
            <a:bodyPr wrap="square" anchor="ctr">
              <a:sp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Semibold"/>
                  <a:ea typeface="+mn-ea"/>
                  <a:cs typeface="+mn-cs"/>
                </a:rPr>
                <a:t>PowerShell</a:t>
              </a:r>
            </a:p>
          </p:txBody>
        </p:sp>
      </p:grpSp>
      <p:cxnSp>
        <p:nvCxnSpPr>
          <p:cNvPr id="111" name="Straight Arrow Connector 110">
            <a:extLst>
              <a:ext uri="{FF2B5EF4-FFF2-40B4-BE49-F238E27FC236}">
                <a16:creationId xmlns:a16="http://schemas.microsoft.com/office/drawing/2014/main" id="{EBDEB3BC-9309-4C2E-B555-0AE852DDEBD1}"/>
              </a:ext>
            </a:extLst>
          </p:cNvPr>
          <p:cNvCxnSpPr>
            <a:cxnSpLocks/>
            <a:stCxn id="105" idx="3"/>
            <a:endCxn id="109" idx="1"/>
          </p:cNvCxnSpPr>
          <p:nvPr/>
        </p:nvCxnSpPr>
        <p:spPr>
          <a:xfrm flipV="1">
            <a:off x="2048451" y="6237051"/>
            <a:ext cx="150296" cy="1644"/>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2B6E3817-190F-47A1-9848-14AE928C9954}"/>
              </a:ext>
            </a:extLst>
          </p:cNvPr>
          <p:cNvCxnSpPr>
            <a:cxnSpLocks/>
            <a:stCxn id="109" idx="3"/>
            <a:endCxn id="103" idx="2"/>
          </p:cNvCxnSpPr>
          <p:nvPr/>
        </p:nvCxnSpPr>
        <p:spPr>
          <a:xfrm flipV="1">
            <a:off x="2836846" y="4943277"/>
            <a:ext cx="3046709" cy="1293774"/>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B2235496-D36A-4A0C-A3B5-F919D2D44E59}"/>
              </a:ext>
            </a:extLst>
          </p:cNvPr>
          <p:cNvCxnSpPr>
            <a:cxnSpLocks/>
            <a:endCxn id="103" idx="1"/>
          </p:cNvCxnSpPr>
          <p:nvPr/>
        </p:nvCxnSpPr>
        <p:spPr>
          <a:xfrm flipV="1">
            <a:off x="1866229" y="4693893"/>
            <a:ext cx="3201751" cy="1221166"/>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E57AAB1E-88D4-4D4B-9AA7-AD6B3F81C05D}"/>
              </a:ext>
            </a:extLst>
          </p:cNvPr>
          <p:cNvSpPr/>
          <p:nvPr/>
        </p:nvSpPr>
        <p:spPr bwMode="auto">
          <a:xfrm>
            <a:off x="567952" y="5842395"/>
            <a:ext cx="1480499" cy="792600"/>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Third-party app</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p:txBody>
      </p:sp>
      <p:grpSp>
        <p:nvGrpSpPr>
          <p:cNvPr id="97" name="Group 96">
            <a:extLst>
              <a:ext uri="{FF2B5EF4-FFF2-40B4-BE49-F238E27FC236}">
                <a16:creationId xmlns:a16="http://schemas.microsoft.com/office/drawing/2014/main" id="{C978A488-53D9-49C3-931B-D3C629915EC4}"/>
              </a:ext>
            </a:extLst>
          </p:cNvPr>
          <p:cNvGrpSpPr/>
          <p:nvPr/>
        </p:nvGrpSpPr>
        <p:grpSpPr>
          <a:xfrm>
            <a:off x="7787505" y="3872577"/>
            <a:ext cx="3406136" cy="587682"/>
            <a:chOff x="7787505" y="5258366"/>
            <a:chExt cx="3406136" cy="587682"/>
          </a:xfrm>
        </p:grpSpPr>
        <p:grpSp>
          <p:nvGrpSpPr>
            <p:cNvPr id="99" name="Group 98">
              <a:extLst>
                <a:ext uri="{FF2B5EF4-FFF2-40B4-BE49-F238E27FC236}">
                  <a16:creationId xmlns:a16="http://schemas.microsoft.com/office/drawing/2014/main" id="{2A84903B-D850-4A62-BAC1-4BCCA445E789}"/>
                </a:ext>
              </a:extLst>
            </p:cNvPr>
            <p:cNvGrpSpPr/>
            <p:nvPr/>
          </p:nvGrpSpPr>
          <p:grpSpPr>
            <a:xfrm>
              <a:off x="7787505" y="5258366"/>
              <a:ext cx="3406136" cy="587682"/>
              <a:chOff x="3519131" y="2542018"/>
              <a:chExt cx="3406136" cy="587682"/>
            </a:xfrm>
          </p:grpSpPr>
          <p:grpSp>
            <p:nvGrpSpPr>
              <p:cNvPr id="130" name="Group 129">
                <a:extLst>
                  <a:ext uri="{FF2B5EF4-FFF2-40B4-BE49-F238E27FC236}">
                    <a16:creationId xmlns:a16="http://schemas.microsoft.com/office/drawing/2014/main" id="{B19E0344-6C7F-465A-9385-786C80D9A179}"/>
                  </a:ext>
                </a:extLst>
              </p:cNvPr>
              <p:cNvGrpSpPr/>
              <p:nvPr/>
            </p:nvGrpSpPr>
            <p:grpSpPr>
              <a:xfrm>
                <a:off x="3519131" y="2542018"/>
                <a:ext cx="3334218" cy="498768"/>
                <a:chOff x="7837970" y="2542018"/>
                <a:chExt cx="3334218" cy="498768"/>
              </a:xfrm>
            </p:grpSpPr>
            <p:sp>
              <p:nvSpPr>
                <p:cNvPr id="168" name="Rectangle: Rounded Corners 167">
                  <a:extLst>
                    <a:ext uri="{FF2B5EF4-FFF2-40B4-BE49-F238E27FC236}">
                      <a16:creationId xmlns:a16="http://schemas.microsoft.com/office/drawing/2014/main" id="{2B758B76-61B3-4D42-99F9-04C6EC69AD08}"/>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70" name="Rectangle: Rounded Corners 169">
                  <a:extLst>
                    <a:ext uri="{FF2B5EF4-FFF2-40B4-BE49-F238E27FC236}">
                      <a16:creationId xmlns:a16="http://schemas.microsoft.com/office/drawing/2014/main" id="{A2719A8C-DB25-4982-8FCC-3A0DDAB4045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31" name="Group 130">
                <a:extLst>
                  <a:ext uri="{FF2B5EF4-FFF2-40B4-BE49-F238E27FC236}">
                    <a16:creationId xmlns:a16="http://schemas.microsoft.com/office/drawing/2014/main" id="{9BBEF302-5362-4585-BF13-6377D3666F22}"/>
                  </a:ext>
                </a:extLst>
              </p:cNvPr>
              <p:cNvGrpSpPr/>
              <p:nvPr/>
            </p:nvGrpSpPr>
            <p:grpSpPr>
              <a:xfrm>
                <a:off x="3555090" y="2586475"/>
                <a:ext cx="3334218" cy="498768"/>
                <a:chOff x="7837970" y="2542018"/>
                <a:chExt cx="3334218" cy="498768"/>
              </a:xfrm>
            </p:grpSpPr>
            <p:sp>
              <p:nvSpPr>
                <p:cNvPr id="138" name="Rectangle: Rounded Corners 137">
                  <a:extLst>
                    <a:ext uri="{FF2B5EF4-FFF2-40B4-BE49-F238E27FC236}">
                      <a16:creationId xmlns:a16="http://schemas.microsoft.com/office/drawing/2014/main" id="{B57BF9BD-C782-48ED-8D8F-5A3CCA13ADA3}"/>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67" name="Rectangle: Rounded Corners 166">
                  <a:extLst>
                    <a:ext uri="{FF2B5EF4-FFF2-40B4-BE49-F238E27FC236}">
                      <a16:creationId xmlns:a16="http://schemas.microsoft.com/office/drawing/2014/main" id="{EBE76E75-C05D-4E25-A4A9-DE496F9DDA7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32" name="Group 131">
                <a:extLst>
                  <a:ext uri="{FF2B5EF4-FFF2-40B4-BE49-F238E27FC236}">
                    <a16:creationId xmlns:a16="http://schemas.microsoft.com/office/drawing/2014/main" id="{B0EFEF85-2BCD-4FE7-A734-DFB30DB3B138}"/>
                  </a:ext>
                </a:extLst>
              </p:cNvPr>
              <p:cNvGrpSpPr/>
              <p:nvPr/>
            </p:nvGrpSpPr>
            <p:grpSpPr>
              <a:xfrm>
                <a:off x="3591049" y="2630932"/>
                <a:ext cx="3334218" cy="498768"/>
                <a:chOff x="7837970" y="2542018"/>
                <a:chExt cx="3334218" cy="498768"/>
              </a:xfrm>
            </p:grpSpPr>
            <p:sp>
              <p:nvSpPr>
                <p:cNvPr id="134" name="Rectangle: Rounded Corners 133">
                  <a:extLst>
                    <a:ext uri="{FF2B5EF4-FFF2-40B4-BE49-F238E27FC236}">
                      <a16:creationId xmlns:a16="http://schemas.microsoft.com/office/drawing/2014/main" id="{EE73799F-8CBF-46F2-B8EF-6F34C27605E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36" name="Rectangle: Rounded Corners 135">
                  <a:extLst>
                    <a:ext uri="{FF2B5EF4-FFF2-40B4-BE49-F238E27FC236}">
                      <a16:creationId xmlns:a16="http://schemas.microsoft.com/office/drawing/2014/main" id="{31272B23-20A7-47A7-BC0E-251DD6372C3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0" name="Group 99">
              <a:extLst>
                <a:ext uri="{FF2B5EF4-FFF2-40B4-BE49-F238E27FC236}">
                  <a16:creationId xmlns:a16="http://schemas.microsoft.com/office/drawing/2014/main" id="{F3BB22E0-340E-463E-A092-2030075743C5}"/>
                </a:ext>
              </a:extLst>
            </p:cNvPr>
            <p:cNvGrpSpPr/>
            <p:nvPr/>
          </p:nvGrpSpPr>
          <p:grpSpPr>
            <a:xfrm>
              <a:off x="8883843" y="5370593"/>
              <a:ext cx="378819" cy="378819"/>
              <a:chOff x="5564119" y="2081144"/>
              <a:chExt cx="501718" cy="501718"/>
            </a:xfrm>
          </p:grpSpPr>
          <p:sp>
            <p:nvSpPr>
              <p:cNvPr id="128" name="Diamond 127">
                <a:extLst>
                  <a:ext uri="{FF2B5EF4-FFF2-40B4-BE49-F238E27FC236}">
                    <a16:creationId xmlns:a16="http://schemas.microsoft.com/office/drawing/2014/main" id="{61EC1223-629E-44B0-8E42-6450DF5039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29" name="Graphic 128">
                <a:extLst>
                  <a:ext uri="{FF2B5EF4-FFF2-40B4-BE49-F238E27FC236}">
                    <a16:creationId xmlns:a16="http://schemas.microsoft.com/office/drawing/2014/main" id="{1E3BAC4E-30F7-42E9-8CBD-AB39B12989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grpSp>
          <p:nvGrpSpPr>
            <p:cNvPr id="122" name="Group 121">
              <a:extLst>
                <a:ext uri="{FF2B5EF4-FFF2-40B4-BE49-F238E27FC236}">
                  <a16:creationId xmlns:a16="http://schemas.microsoft.com/office/drawing/2014/main" id="{17C1F1E5-F532-47C1-A479-0FBCE3246B3B}"/>
                </a:ext>
              </a:extLst>
            </p:cNvPr>
            <p:cNvGrpSpPr/>
            <p:nvPr/>
          </p:nvGrpSpPr>
          <p:grpSpPr>
            <a:xfrm>
              <a:off x="10569241" y="5402721"/>
              <a:ext cx="396950" cy="355079"/>
              <a:chOff x="10633596" y="3514287"/>
              <a:chExt cx="396950" cy="355079"/>
            </a:xfrm>
          </p:grpSpPr>
          <p:sp>
            <p:nvSpPr>
              <p:cNvPr id="123" name="Hexagon 122">
                <a:extLst>
                  <a:ext uri="{FF2B5EF4-FFF2-40B4-BE49-F238E27FC236}">
                    <a16:creationId xmlns:a16="http://schemas.microsoft.com/office/drawing/2014/main" id="{EF67BC4C-324C-413E-A684-1A0FAE79EC78}"/>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27" name="Picture 126">
                <a:extLst>
                  <a:ext uri="{FF2B5EF4-FFF2-40B4-BE49-F238E27FC236}">
                    <a16:creationId xmlns:a16="http://schemas.microsoft.com/office/drawing/2014/main" id="{59E86595-2531-4FF6-802F-C471AA47F404}"/>
                  </a:ext>
                </a:extLst>
              </p:cNvPr>
              <p:cNvPicPr>
                <a:picLocks noChangeAspect="1"/>
              </p:cNvPicPr>
              <p:nvPr/>
            </p:nvPicPr>
            <p:blipFill>
              <a:blip r:embed="rId10"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527445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500"/>
                                        <p:tgtEl>
                                          <p:spTgt spid="111"/>
                                        </p:tgtEl>
                                      </p:cBhvr>
                                    </p:animEffect>
                                  </p:childTnLst>
                                </p:cTn>
                              </p:par>
                              <p:par>
                                <p:cTn id="14" presetID="1" presetClass="entr" presetSubtype="0" fill="hold" nodeType="withEffect">
                                  <p:stCondLst>
                                    <p:cond delay="0"/>
                                  </p:stCondLst>
                                  <p:childTnLst>
                                    <p:set>
                                      <p:cBhvr>
                                        <p:cTn id="15" dur="1" fill="hold">
                                          <p:stCondLst>
                                            <p:cond delay="0"/>
                                          </p:stCondLst>
                                        </p:cTn>
                                        <p:tgtEl>
                                          <p:spTgt spid="10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2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7">
                                            <p:txEl>
                                              <p:pRg st="1" end="1"/>
                                            </p:txEl>
                                          </p:spTgt>
                                        </p:tgtEl>
                                        <p:attrNameLst>
                                          <p:attrName>style.visibility</p:attrName>
                                        </p:attrNameLst>
                                      </p:cBhvr>
                                      <p:to>
                                        <p:strVal val="visible"/>
                                      </p:to>
                                    </p:set>
                                    <p:animEffect transition="in" filter="fade">
                                      <p:cBhvr>
                                        <p:cTn id="27" dur="500"/>
                                        <p:tgtEl>
                                          <p:spTgt spid="21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177CD5-D93A-4E02-93B1-66E71F1CC3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503" imgH="503" progId="TCLayout.ActiveDocument.1">
                  <p:embed/>
                </p:oleObj>
              </mc:Choice>
              <mc:Fallback>
                <p:oleObj name="think-cell Slide" r:id="rId6" imgW="503" imgH="503" progId="TCLayout.ActiveDocument.1">
                  <p:embed/>
                  <p:pic>
                    <p:nvPicPr>
                      <p:cNvPr id="4" name="Object 3" hidden="1">
                        <a:extLst>
                          <a:ext uri="{FF2B5EF4-FFF2-40B4-BE49-F238E27FC236}">
                            <a16:creationId xmlns:a16="http://schemas.microsoft.com/office/drawing/2014/main" id="{6B177CD5-D93A-4E02-93B1-66E71F1CC3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527FAD-3649-4AF7-9AB3-3202E3583F6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DB1328A-25A5-43D0-888A-BAEAF94D5F72}"/>
              </a:ext>
            </a:extLst>
          </p:cNvPr>
          <p:cNvSpPr>
            <a:spLocks noGrp="1"/>
          </p:cNvSpPr>
          <p:nvPr>
            <p:ph type="title"/>
          </p:nvPr>
        </p:nvSpPr>
        <p:spPr>
          <a:xfrm>
            <a:off x="588263" y="457200"/>
            <a:ext cx="11018520" cy="861774"/>
          </a:xfrm>
        </p:spPr>
        <p:txBody>
          <a:bodyPr/>
          <a:lstStyle/>
          <a:p>
            <a:r>
              <a:rPr lang="en-US" dirty="0"/>
              <a:t>Select from WVD Native, Citrix </a:t>
            </a:r>
            <a:r>
              <a:rPr lang="en-US" dirty="0" err="1"/>
              <a:t>Cloud+WVD</a:t>
            </a:r>
            <a:r>
              <a:rPr lang="en-US" dirty="0"/>
              <a:t> and </a:t>
            </a:r>
            <a:r>
              <a:rPr lang="en-US" dirty="0" err="1"/>
              <a:t>VMWare+WVD</a:t>
            </a:r>
            <a:r>
              <a:rPr lang="en-US" dirty="0"/>
              <a:t> based on customer situation</a:t>
            </a:r>
          </a:p>
        </p:txBody>
      </p:sp>
      <p:sp>
        <p:nvSpPr>
          <p:cNvPr id="5" name="TextBox 4">
            <a:extLst>
              <a:ext uri="{FF2B5EF4-FFF2-40B4-BE49-F238E27FC236}">
                <a16:creationId xmlns:a16="http://schemas.microsoft.com/office/drawing/2014/main" id="{9EE10233-6965-4EA8-87FA-5989B7A5706A}"/>
              </a:ext>
            </a:extLst>
          </p:cNvPr>
          <p:cNvSpPr txBox="1"/>
          <p:nvPr/>
        </p:nvSpPr>
        <p:spPr>
          <a:xfrm>
            <a:off x="629905" y="2406542"/>
            <a:ext cx="4351260" cy="3487104"/>
          </a:xfrm>
          <a:prstGeom prst="rect">
            <a:avLst/>
          </a:prstGeom>
          <a:solidFill>
            <a:schemeClr val="bg1"/>
          </a:solidFill>
          <a:ln w="6350">
            <a:solidFill>
              <a:schemeClr val="bg1">
                <a:lumMod val="7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4DB7E7AE-1B27-43A5-9934-A94BBA4DB4C5}"/>
              </a:ext>
            </a:extLst>
          </p:cNvPr>
          <p:cNvSpPr txBox="1"/>
          <p:nvPr/>
        </p:nvSpPr>
        <p:spPr>
          <a:xfrm>
            <a:off x="586500" y="1854200"/>
            <a:ext cx="4351260" cy="552342"/>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olution Choices</a:t>
            </a:r>
          </a:p>
        </p:txBody>
      </p:sp>
      <p:sp>
        <p:nvSpPr>
          <p:cNvPr id="7" name="TextBox 6">
            <a:extLst>
              <a:ext uri="{FF2B5EF4-FFF2-40B4-BE49-F238E27FC236}">
                <a16:creationId xmlns:a16="http://schemas.microsoft.com/office/drawing/2014/main" id="{04486C99-2D82-4536-90DD-EDC502ACA9F2}"/>
              </a:ext>
            </a:extLst>
          </p:cNvPr>
          <p:cNvSpPr txBox="1"/>
          <p:nvPr/>
        </p:nvSpPr>
        <p:spPr>
          <a:xfrm>
            <a:off x="6096000" y="2406542"/>
            <a:ext cx="5395455" cy="3957890"/>
          </a:xfrm>
          <a:prstGeom prst="rect">
            <a:avLst/>
          </a:prstGeom>
          <a:noFill/>
          <a:ln w="6350">
            <a:solidFill>
              <a:schemeClr val="bg1">
                <a:lumMod val="75000"/>
              </a:schemeClr>
            </a:solidFill>
          </a:ln>
        </p:spPr>
        <p:txBody>
          <a:bodyPr wrap="square" lIns="91440" tIns="91440" rIns="91440" bIns="45720" rtlCol="0" anchor="t">
            <a:noAutofit/>
          </a:bodyPr>
          <a:lstStyle/>
          <a:p>
            <a:pPr marL="284163" marR="0" lvl="0" indent="-284163" algn="l" defTabSz="914400" rtl="0" eaLnBrk="1" fontAlgn="auto" latinLnBrk="0" hangingPunct="1">
              <a:lnSpc>
                <a:spcPct val="100000"/>
              </a:lnSpc>
              <a:spcBef>
                <a:spcPts val="5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Citrix and VMware provide value add to WVD (e.g. hybrid deployment management)</a:t>
            </a:r>
          </a:p>
          <a:p>
            <a:pPr marL="284163" marR="0" lvl="0" indent="-284163" algn="l" defTabSz="914400" rtl="0" eaLnBrk="1" fontAlgn="auto" latinLnBrk="0" hangingPunct="1">
              <a:lnSpc>
                <a:spcPct val="100000"/>
              </a:lnSpc>
              <a:spcBef>
                <a:spcPts val="5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Windows 10 Multi-Session, Win 7 with included ESU for 3 years, Linux rates on WS VMs  are  also available with Citrix &amp; VMware,  management plane</a:t>
            </a:r>
          </a:p>
          <a:p>
            <a:pPr marL="284163" marR="0" lvl="0" indent="-284163" algn="l" defTabSz="914400" rtl="0" eaLnBrk="1" fontAlgn="auto" latinLnBrk="0" hangingPunct="1">
              <a:lnSpc>
                <a:spcPct val="100000"/>
              </a:lnSpc>
              <a:spcBef>
                <a:spcPts val="50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Customer ultimately decides the management plane(s) of choice  based on their business and technical needs</a:t>
            </a:r>
          </a:p>
        </p:txBody>
      </p:sp>
      <p:sp>
        <p:nvSpPr>
          <p:cNvPr id="11" name="Isosceles Triangle 10">
            <a:extLst>
              <a:ext uri="{FF2B5EF4-FFF2-40B4-BE49-F238E27FC236}">
                <a16:creationId xmlns:a16="http://schemas.microsoft.com/office/drawing/2014/main" id="{6BA25072-0AE3-4F6E-BF30-9CC30777F1C1}"/>
              </a:ext>
            </a:extLst>
          </p:cNvPr>
          <p:cNvSpPr/>
          <p:nvPr/>
        </p:nvSpPr>
        <p:spPr bwMode="auto">
          <a:xfrm rot="5400000">
            <a:off x="4529692" y="3882266"/>
            <a:ext cx="1893240" cy="39420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DA748C73-5860-4757-839C-87D4F2E52143}"/>
              </a:ext>
            </a:extLst>
          </p:cNvPr>
          <p:cNvGrpSpPr/>
          <p:nvPr/>
        </p:nvGrpSpPr>
        <p:grpSpPr>
          <a:xfrm>
            <a:off x="1611085" y="3796896"/>
            <a:ext cx="2926257" cy="608124"/>
            <a:chOff x="956123" y="2942250"/>
            <a:chExt cx="2926257" cy="608124"/>
          </a:xfrm>
        </p:grpSpPr>
        <p:pic>
          <p:nvPicPr>
            <p:cNvPr id="9" name="Picture 8">
              <a:extLst>
                <a:ext uri="{FF2B5EF4-FFF2-40B4-BE49-F238E27FC236}">
                  <a16:creationId xmlns:a16="http://schemas.microsoft.com/office/drawing/2014/main" id="{026EEE2F-A1C7-42BB-B0F3-C5FA0902B729}"/>
                </a:ext>
              </a:extLst>
            </p:cNvPr>
            <p:cNvPicPr>
              <a:picLocks noChangeAspect="1"/>
            </p:cNvPicPr>
            <p:nvPr/>
          </p:nvPicPr>
          <p:blipFill>
            <a:blip r:embed="rId8"/>
            <a:stretch>
              <a:fillRect/>
            </a:stretch>
          </p:blipFill>
          <p:spPr>
            <a:xfrm>
              <a:off x="956123" y="2942250"/>
              <a:ext cx="1606790" cy="608124"/>
            </a:xfrm>
            <a:prstGeom prst="rect">
              <a:avLst/>
            </a:prstGeom>
          </p:spPr>
        </p:pic>
        <p:sp>
          <p:nvSpPr>
            <p:cNvPr id="13" name="TextBox 12">
              <a:extLst>
                <a:ext uri="{FF2B5EF4-FFF2-40B4-BE49-F238E27FC236}">
                  <a16:creationId xmlns:a16="http://schemas.microsoft.com/office/drawing/2014/main" id="{EC0BE5D7-E773-4151-B6FF-1ECD3E475773}"/>
                </a:ext>
              </a:extLst>
            </p:cNvPr>
            <p:cNvSpPr txBox="1"/>
            <p:nvPr/>
          </p:nvSpPr>
          <p:spPr>
            <a:xfrm>
              <a:off x="2657686" y="3033233"/>
              <a:ext cx="1224694"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t>
              </a:r>
              <a:r>
                <a:rPr kumimoji="0" lang="en-US" sz="28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2800" b="1"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WVD</a:t>
              </a:r>
            </a:p>
          </p:txBody>
        </p:sp>
      </p:grpSp>
      <p:grpSp>
        <p:nvGrpSpPr>
          <p:cNvPr id="16" name="Group 15">
            <a:extLst>
              <a:ext uri="{FF2B5EF4-FFF2-40B4-BE49-F238E27FC236}">
                <a16:creationId xmlns:a16="http://schemas.microsoft.com/office/drawing/2014/main" id="{0D4DAAE7-8F43-4072-B132-FB41315364BC}"/>
              </a:ext>
            </a:extLst>
          </p:cNvPr>
          <p:cNvGrpSpPr/>
          <p:nvPr/>
        </p:nvGrpSpPr>
        <p:grpSpPr>
          <a:xfrm>
            <a:off x="586500" y="4810546"/>
            <a:ext cx="3559052" cy="430887"/>
            <a:chOff x="1174901" y="3718700"/>
            <a:chExt cx="3559052" cy="430887"/>
          </a:xfrm>
        </p:grpSpPr>
        <p:pic>
          <p:nvPicPr>
            <p:cNvPr id="8" name="Picture 7">
              <a:extLst>
                <a:ext uri="{FF2B5EF4-FFF2-40B4-BE49-F238E27FC236}">
                  <a16:creationId xmlns:a16="http://schemas.microsoft.com/office/drawing/2014/main" id="{4A4B2352-00B1-4ECE-8719-FAA32B00DB71}"/>
                </a:ext>
              </a:extLst>
            </p:cNvPr>
            <p:cNvPicPr>
              <a:picLocks noChangeAspect="1"/>
            </p:cNvPicPr>
            <p:nvPr/>
          </p:nvPicPr>
          <p:blipFill>
            <a:blip r:embed="rId9"/>
            <a:stretch>
              <a:fillRect/>
            </a:stretch>
          </p:blipFill>
          <p:spPr>
            <a:xfrm>
              <a:off x="1174901" y="3776419"/>
              <a:ext cx="2247548" cy="366350"/>
            </a:xfrm>
            <a:prstGeom prst="rect">
              <a:avLst/>
            </a:prstGeom>
          </p:spPr>
        </p:pic>
        <p:sp>
          <p:nvSpPr>
            <p:cNvPr id="14" name="TextBox 13">
              <a:extLst>
                <a:ext uri="{FF2B5EF4-FFF2-40B4-BE49-F238E27FC236}">
                  <a16:creationId xmlns:a16="http://schemas.microsoft.com/office/drawing/2014/main" id="{53200C66-8C89-4DE3-B0FE-09FC4B9E48D0}"/>
                </a:ext>
              </a:extLst>
            </p:cNvPr>
            <p:cNvSpPr txBox="1"/>
            <p:nvPr/>
          </p:nvSpPr>
          <p:spPr>
            <a:xfrm>
              <a:off x="3509259" y="3718700"/>
              <a:ext cx="1224694"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t>
              </a:r>
              <a:r>
                <a:rPr kumimoji="0" lang="en-US" sz="28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2800" b="1"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WVD</a:t>
              </a:r>
            </a:p>
          </p:txBody>
        </p:sp>
      </p:grpSp>
      <p:sp>
        <p:nvSpPr>
          <p:cNvPr id="17" name="TextBox 16">
            <a:extLst>
              <a:ext uri="{FF2B5EF4-FFF2-40B4-BE49-F238E27FC236}">
                <a16:creationId xmlns:a16="http://schemas.microsoft.com/office/drawing/2014/main" id="{5E06D3DD-AB1B-413D-865F-0ADC01D34DF7}"/>
              </a:ext>
            </a:extLst>
          </p:cNvPr>
          <p:cNvSpPr txBox="1"/>
          <p:nvPr/>
        </p:nvSpPr>
        <p:spPr>
          <a:xfrm>
            <a:off x="6096000" y="1854200"/>
            <a:ext cx="5395454" cy="552342"/>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Dictated by Customer Needs</a:t>
            </a:r>
          </a:p>
        </p:txBody>
      </p:sp>
      <p:sp>
        <p:nvSpPr>
          <p:cNvPr id="18" name="TextBox 17">
            <a:extLst>
              <a:ext uri="{FF2B5EF4-FFF2-40B4-BE49-F238E27FC236}">
                <a16:creationId xmlns:a16="http://schemas.microsoft.com/office/drawing/2014/main" id="{B1C06D41-E845-4CAC-8C54-5CEEA1697F20}"/>
              </a:ext>
            </a:extLst>
          </p:cNvPr>
          <p:cNvSpPr txBox="1"/>
          <p:nvPr/>
        </p:nvSpPr>
        <p:spPr>
          <a:xfrm>
            <a:off x="1254408" y="2960483"/>
            <a:ext cx="2093202"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WVD Native</a:t>
            </a:r>
          </a:p>
        </p:txBody>
      </p:sp>
      <p:sp>
        <p:nvSpPr>
          <p:cNvPr id="10" name="Rectangle 9">
            <a:extLst>
              <a:ext uri="{FF2B5EF4-FFF2-40B4-BE49-F238E27FC236}">
                <a16:creationId xmlns:a16="http://schemas.microsoft.com/office/drawing/2014/main" id="{35EE21BB-00F6-44CD-A1A2-39B791A1F401}"/>
              </a:ext>
            </a:extLst>
          </p:cNvPr>
          <p:cNvSpPr/>
          <p:nvPr/>
        </p:nvSpPr>
        <p:spPr>
          <a:xfrm>
            <a:off x="0" y="6458345"/>
            <a:ext cx="9316448" cy="369332"/>
          </a:xfrm>
          <a:prstGeom prst="rect">
            <a:avLst/>
          </a:prstGeom>
        </p:spPr>
        <p:txBody>
          <a:bodyPr wrap="square">
            <a:spAutoFit/>
          </a:bodyPr>
          <a:lstStyle/>
          <a:p>
            <a:r>
              <a:rPr lang="da-DK" dirty="0">
                <a:hlinkClick r:id="rId10"/>
              </a:rPr>
              <a:t>Partners: https://docs.microsoft.com/en-us/azure/virtual-desktop/partners</a:t>
            </a:r>
            <a:endParaRPr lang="da-DK" dirty="0"/>
          </a:p>
        </p:txBody>
      </p:sp>
    </p:spTree>
    <p:extLst>
      <p:ext uri="{BB962C8B-B14F-4D97-AF65-F5344CB8AC3E}">
        <p14:creationId xmlns:p14="http://schemas.microsoft.com/office/powerpoint/2010/main" val="75376573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CBC80-E31B-4F57-820A-89FEAE039D41}"/>
              </a:ext>
            </a:extLst>
          </p:cNvPr>
          <p:cNvSpPr>
            <a:spLocks noGrp="1"/>
          </p:cNvSpPr>
          <p:nvPr>
            <p:ph type="title"/>
          </p:nvPr>
        </p:nvSpPr>
        <p:spPr>
          <a:xfrm>
            <a:off x="3856383" y="685800"/>
            <a:ext cx="7750399" cy="492443"/>
          </a:xfrm>
        </p:spPr>
        <p:txBody>
          <a:bodyPr/>
          <a:lstStyle/>
          <a:p>
            <a:r>
              <a:rPr lang="en-US" sz="3200" dirty="0"/>
              <a:t>New deployment steps</a:t>
            </a:r>
          </a:p>
        </p:txBody>
      </p:sp>
      <p:sp>
        <p:nvSpPr>
          <p:cNvPr id="3" name="Text Placeholder 2">
            <a:extLst>
              <a:ext uri="{FF2B5EF4-FFF2-40B4-BE49-F238E27FC236}">
                <a16:creationId xmlns:a16="http://schemas.microsoft.com/office/drawing/2014/main" id="{E658E87F-81CA-43FD-9BFE-63873BB9C550}"/>
              </a:ext>
            </a:extLst>
          </p:cNvPr>
          <p:cNvSpPr>
            <a:spLocks noGrp="1"/>
          </p:cNvSpPr>
          <p:nvPr>
            <p:ph type="body" sz="quarter" idx="10"/>
          </p:nvPr>
        </p:nvSpPr>
        <p:spPr>
          <a:xfrm>
            <a:off x="3794882" y="1350065"/>
            <a:ext cx="8136834" cy="4667945"/>
          </a:xfrm>
        </p:spPr>
        <p:txBody>
          <a:bodyPr vert="horz" wrap="square" lIns="0" tIns="0" rIns="0" bIns="0" rtlCol="0" anchor="t">
            <a:spAutoFit/>
          </a:bodyPr>
          <a:lstStyle/>
          <a:p>
            <a:pPr>
              <a:spcBef>
                <a:spcPts val="1000"/>
              </a:spcBef>
            </a:pPr>
            <a:r>
              <a:rPr lang="en-US" sz="2000" b="1" dirty="0"/>
              <a:t>Prerequisites</a:t>
            </a:r>
            <a:r>
              <a:rPr lang="en-US" sz="2000" dirty="0"/>
              <a:t>: Azure AD tenant, subscription, </a:t>
            </a:r>
            <a:r>
              <a:rPr lang="en-US" sz="2000" dirty="0" err="1"/>
              <a:t>vnet</a:t>
            </a:r>
            <a:r>
              <a:rPr lang="en-US" sz="2000" dirty="0"/>
              <a:t> with AD or AAD-DS</a:t>
            </a:r>
          </a:p>
          <a:p>
            <a:pPr>
              <a:spcBef>
                <a:spcPts val="1000"/>
              </a:spcBef>
            </a:pPr>
            <a:r>
              <a:rPr lang="en-US" sz="2000" b="1" dirty="0"/>
              <a:t>One-time step:</a:t>
            </a:r>
          </a:p>
          <a:p>
            <a:pPr>
              <a:spcBef>
                <a:spcPts val="1000"/>
              </a:spcBef>
            </a:pPr>
            <a:r>
              <a:rPr lang="en-US" sz="2000" dirty="0"/>
              <a:t>1. Create WVD tenant mapped to Azure AD tenant</a:t>
            </a:r>
          </a:p>
          <a:p>
            <a:pPr>
              <a:spcBef>
                <a:spcPts val="1000"/>
              </a:spcBef>
            </a:pPr>
            <a:r>
              <a:rPr lang="en-US" sz="2000" b="1" dirty="0"/>
              <a:t>N-time steps:</a:t>
            </a:r>
          </a:p>
          <a:p>
            <a:pPr>
              <a:spcBef>
                <a:spcPts val="1000"/>
              </a:spcBef>
            </a:pPr>
            <a:r>
              <a:rPr lang="en-US" sz="2000" dirty="0"/>
              <a:t>2. Create a host pool in WVD and export registration token</a:t>
            </a:r>
          </a:p>
          <a:p>
            <a:pPr>
              <a:spcBef>
                <a:spcPts val="1000"/>
              </a:spcBef>
            </a:pPr>
            <a:r>
              <a:rPr lang="en-US" sz="2000" dirty="0"/>
              <a:t>3. Assign Azure AD users to the desktop app group</a:t>
            </a:r>
          </a:p>
          <a:p>
            <a:pPr>
              <a:spcBef>
                <a:spcPts val="1000"/>
              </a:spcBef>
            </a:pPr>
            <a:r>
              <a:rPr lang="en-US" sz="2000" dirty="0"/>
              <a:t>4. Create VMs in Azure subscription joined to AD domain</a:t>
            </a:r>
          </a:p>
          <a:p>
            <a:pPr>
              <a:spcBef>
                <a:spcPts val="1000"/>
              </a:spcBef>
            </a:pPr>
            <a:r>
              <a:rPr lang="en-US" sz="2000" dirty="0"/>
              <a:t>5. Install WVD Agent &amp; registration token on VM from step 2</a:t>
            </a:r>
          </a:p>
          <a:p>
            <a:pPr>
              <a:spcBef>
                <a:spcPts val="1000"/>
              </a:spcBef>
            </a:pPr>
            <a:r>
              <a:rPr lang="en-US" sz="2000" dirty="0"/>
              <a:t>&gt;&gt;&gt;Users can now run RD client, sign in, &amp; connect to desktops in Azure!</a:t>
            </a:r>
          </a:p>
          <a:p>
            <a:pPr>
              <a:spcBef>
                <a:spcPts val="1000"/>
              </a:spcBef>
            </a:pPr>
            <a:endParaRPr lang="en-US" sz="2000" dirty="0"/>
          </a:p>
          <a:p>
            <a:pPr>
              <a:spcBef>
                <a:spcPts val="1000"/>
              </a:spcBef>
            </a:pPr>
            <a:r>
              <a:rPr lang="en-US" sz="2000" dirty="0"/>
              <a:t>Alternatively, run the WVD Azure Marketplace offers or ARM templates</a:t>
            </a:r>
          </a:p>
        </p:txBody>
      </p:sp>
      <p:sp>
        <p:nvSpPr>
          <p:cNvPr id="4" name="Rectangle 3">
            <a:extLst>
              <a:ext uri="{FF2B5EF4-FFF2-40B4-BE49-F238E27FC236}">
                <a16:creationId xmlns:a16="http://schemas.microsoft.com/office/drawing/2014/main" id="{CA06AE59-1430-467B-A1C6-B06234D48091}"/>
              </a:ext>
            </a:extLst>
          </p:cNvPr>
          <p:cNvSpPr/>
          <p:nvPr/>
        </p:nvSpPr>
        <p:spPr bwMode="auto">
          <a:xfrm>
            <a:off x="0" y="0"/>
            <a:ext cx="3440923"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D622732F-792D-42BF-A5DF-65C3A30F2CC1}"/>
              </a:ext>
            </a:extLst>
          </p:cNvPr>
          <p:cNvSpPr/>
          <p:nvPr/>
        </p:nvSpPr>
        <p:spPr>
          <a:xfrm>
            <a:off x="353959" y="2019300"/>
            <a:ext cx="3048555" cy="2944396"/>
          </a:xfrm>
          <a:prstGeom prst="rect">
            <a:avLst/>
          </a:prstGeom>
        </p:spPr>
        <p:txBody>
          <a:bodyPr wrap="square" lIns="0" tIns="0" rIns="0" bIns="0">
            <a:spAutoFit/>
          </a:bodyPr>
          <a:lstStyle/>
          <a:p>
            <a:pPr marL="0" marR="0" lvl="0" indent="0" algn="ctr" defTabSz="914367"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300" normalizeH="0" baseline="0" noProof="0" dirty="0">
                <a:ln w="3175">
                  <a:noFill/>
                </a:ln>
                <a:solidFill>
                  <a:srgbClr val="FFFFFF"/>
                </a:solidFill>
                <a:effectLst/>
                <a:uLnTx/>
                <a:uFillTx/>
                <a:latin typeface="Segoe UI Semibold"/>
                <a:ea typeface="+mn-ea"/>
                <a:cs typeface="Segoe UI" pitchFamily="34" charset="0"/>
              </a:rPr>
              <a:t>VARIATIONS</a:t>
            </a:r>
            <a:endParaRPr kumimoji="0" lang="en-US" sz="1800" b="1" i="0" u="none" strike="noStrike" kern="1200" cap="none" spc="300" normalizeH="0" baseline="0" noProof="0" dirty="0">
              <a:ln w="3175">
                <a:noFill/>
              </a:ln>
              <a:solidFill>
                <a:srgbClr val="FFFFFF"/>
              </a:solidFill>
              <a:effectLst/>
              <a:uLnTx/>
              <a:uFillTx/>
              <a:latin typeface="Segoe UI Semibold"/>
              <a:ea typeface="+mn-ea"/>
              <a:cs typeface="Segoe UI" pitchFamily="34" charset="0"/>
            </a:endParaRPr>
          </a:p>
          <a:p>
            <a:pPr marL="0" marR="0" lvl="0" indent="0" algn="ctr" defTabSz="914367" rtl="0" eaLnBrk="1" fontAlgn="auto" latinLnBrk="0" hangingPunct="1">
              <a:lnSpc>
                <a:spcPct val="100000"/>
              </a:lnSpc>
              <a:spcBef>
                <a:spcPts val="1000"/>
              </a:spcBef>
              <a:spcAft>
                <a:spcPts val="0"/>
              </a:spcAft>
              <a:buClrTx/>
              <a:buSzTx/>
              <a:buFontTx/>
              <a:buNone/>
              <a:tabLst/>
              <a:defRPr/>
            </a:pPr>
            <a:endParaRPr kumimoji="0" lang="en-US" sz="1800" b="1" i="0" u="none" strike="noStrike" kern="1200" cap="none" spc="300" normalizeH="0" baseline="0" noProof="0" dirty="0">
              <a:ln w="3175">
                <a:noFill/>
              </a:ln>
              <a:solidFill>
                <a:srgbClr val="FFFFFF"/>
              </a:solidFill>
              <a:effectLst/>
              <a:uLnTx/>
              <a:uFillTx/>
              <a:latin typeface="Segoe UI Semibold"/>
              <a:ea typeface="+mn-ea"/>
              <a:cs typeface="Segoe UI" pitchFamily="34" charset="0"/>
            </a:endParaRPr>
          </a:p>
          <a:p>
            <a:pPr marL="342900" marR="0" lvl="0" indent="-342900" algn="l" defTabSz="914367"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t>Create a custom image for the VMs</a:t>
            </a:r>
          </a:p>
          <a:p>
            <a:pPr marL="342900" marR="0" lvl="0" indent="-342900" algn="l" defTabSz="914367"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t>Create RemoteApp app group &amp; publish apps</a:t>
            </a:r>
          </a:p>
          <a:p>
            <a:pPr marL="342900" marR="0" lvl="0" indent="-342900" algn="l" defTabSz="914367"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t>Create personal desktop</a:t>
            </a:r>
            <a:br>
              <a:rPr kumimoji="0" lang="en-US" sz="20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20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t>host pool (future)</a:t>
            </a:r>
          </a:p>
        </p:txBody>
      </p:sp>
      <p:cxnSp>
        <p:nvCxnSpPr>
          <p:cNvPr id="7" name="Straight Connector 6">
            <a:extLst>
              <a:ext uri="{FF2B5EF4-FFF2-40B4-BE49-F238E27FC236}">
                <a16:creationId xmlns:a16="http://schemas.microsoft.com/office/drawing/2014/main" id="{E9A7EF4D-E6FF-4874-AB1B-FD4E25A397B6}"/>
              </a:ext>
            </a:extLst>
          </p:cNvPr>
          <p:cNvCxnSpPr/>
          <p:nvPr/>
        </p:nvCxnSpPr>
        <p:spPr>
          <a:xfrm>
            <a:off x="315550" y="2597423"/>
            <a:ext cx="3125373"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874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2ED005-8D09-4212-B744-648E31828423}"/>
              </a:ext>
            </a:extLst>
          </p:cNvPr>
          <p:cNvSpPr>
            <a:spLocks noGrp="1"/>
          </p:cNvSpPr>
          <p:nvPr>
            <p:ph type="title"/>
          </p:nvPr>
        </p:nvSpPr>
        <p:spPr/>
        <p:txBody>
          <a:bodyPr/>
          <a:lstStyle/>
          <a:p>
            <a:r>
              <a:rPr lang="en-US" dirty="0"/>
              <a:t>PowerShell</a:t>
            </a:r>
          </a:p>
        </p:txBody>
      </p:sp>
    </p:spTree>
    <p:extLst>
      <p:ext uri="{BB962C8B-B14F-4D97-AF65-F5344CB8AC3E}">
        <p14:creationId xmlns:p14="http://schemas.microsoft.com/office/powerpoint/2010/main" val="18032749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5D342F-E711-49D2-BFBF-F2F8887C99F1}"/>
              </a:ext>
              <a:ext uri="{C183D7F6-B498-43B3-948B-1728B52AA6E4}">
                <adec:decorative xmlns:adec="http://schemas.microsoft.com/office/drawing/2017/decorative" val="1"/>
              </a:ext>
            </a:extLst>
          </p:cNvPr>
          <p:cNvSpPr/>
          <p:nvPr/>
        </p:nvSpPr>
        <p:spPr bwMode="auto">
          <a:xfrm>
            <a:off x="0" y="1379245"/>
            <a:ext cx="12192000" cy="5478755"/>
          </a:xfrm>
          <a:prstGeom prst="rect">
            <a:avLst/>
          </a:prstGeom>
          <a:solidFill>
            <a:schemeClr val="bg2"/>
          </a:solidFill>
          <a:ln>
            <a:noFill/>
            <a:headEnd type="none" w="med" len="med"/>
            <a:tailEnd type="none" w="med" len="med"/>
          </a:ln>
          <a:effectLst>
            <a:outerShdw blurRad="190500" dist="50800" dir="27000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accent1"/>
                </a:solidFill>
              </a:rPr>
              <a:t>Kahoot! </a:t>
            </a:r>
            <a:r>
              <a:rPr lang="en-US" dirty="0">
                <a:solidFill>
                  <a:schemeClr val="tx1"/>
                </a:solidFill>
              </a:rPr>
              <a:t>Windows Virtual Desktop quiz</a:t>
            </a:r>
            <a:endParaRPr lang="en-US" dirty="0"/>
          </a:p>
        </p:txBody>
      </p:sp>
      <p:pic>
        <p:nvPicPr>
          <p:cNvPr id="1028" name="Picture 4" descr="Billedresultat for LEGO 10266">
            <a:extLst>
              <a:ext uri="{FF2B5EF4-FFF2-40B4-BE49-F238E27FC236}">
                <a16:creationId xmlns:a16="http://schemas.microsoft.com/office/drawing/2014/main" id="{F06DB62A-03A6-4C76-AEDD-88938E98362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765" b="18053"/>
          <a:stretch/>
        </p:blipFill>
        <p:spPr bwMode="auto">
          <a:xfrm>
            <a:off x="3278292" y="2687886"/>
            <a:ext cx="5459308" cy="36612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illedresultat for Kahoot">
            <a:extLst>
              <a:ext uri="{FF2B5EF4-FFF2-40B4-BE49-F238E27FC236}">
                <a16:creationId xmlns:a16="http://schemas.microsoft.com/office/drawing/2014/main" id="{D240ECFB-0CA3-4467-8F2A-3E26860DB2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174" y="1524909"/>
            <a:ext cx="3343275" cy="13620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illedresultat for office 365 personal">
            <a:extLst>
              <a:ext uri="{FF2B5EF4-FFF2-40B4-BE49-F238E27FC236}">
                <a16:creationId xmlns:a16="http://schemas.microsoft.com/office/drawing/2014/main" id="{FF102C92-785B-4D9E-A4BB-D0BA8B8FF8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63424" y="3086391"/>
            <a:ext cx="3276600" cy="32766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Billedresultat for office 365 personal">
            <a:extLst>
              <a:ext uri="{FF2B5EF4-FFF2-40B4-BE49-F238E27FC236}">
                <a16:creationId xmlns:a16="http://schemas.microsoft.com/office/drawing/2014/main" id="{DD6C155D-72EA-4E1B-8E08-653F73D9BA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849" y="3134643"/>
            <a:ext cx="3276600"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466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30FE81D-0FF4-400D-A5E3-119FADDAE01D}"/>
              </a:ext>
            </a:extLst>
          </p:cNvPr>
          <p:cNvGrpSpPr/>
          <p:nvPr/>
        </p:nvGrpSpPr>
        <p:grpSpPr>
          <a:xfrm>
            <a:off x="6701566" y="145775"/>
            <a:ext cx="5118894" cy="6594853"/>
            <a:chOff x="724835" y="145775"/>
            <a:chExt cx="5118894" cy="6594853"/>
          </a:xfrm>
        </p:grpSpPr>
        <p:sp>
          <p:nvSpPr>
            <p:cNvPr id="18" name="Rectangle 17">
              <a:extLst>
                <a:ext uri="{FF2B5EF4-FFF2-40B4-BE49-F238E27FC236}">
                  <a16:creationId xmlns:a16="http://schemas.microsoft.com/office/drawing/2014/main" id="{5F4CC679-6464-40FC-8313-48C110C0CE46}"/>
                </a:ext>
              </a:extLst>
            </p:cNvPr>
            <p:cNvSpPr/>
            <p:nvPr/>
          </p:nvSpPr>
          <p:spPr bwMode="auto">
            <a:xfrm>
              <a:off x="872188" y="145775"/>
              <a:ext cx="4877279" cy="6301409"/>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WVD Object Model</a:t>
              </a:r>
            </a:p>
          </p:txBody>
        </p:sp>
        <p:graphicFrame>
          <p:nvGraphicFramePr>
            <p:cNvPr id="19" name="Diagram 18">
              <a:extLst>
                <a:ext uri="{FF2B5EF4-FFF2-40B4-BE49-F238E27FC236}">
                  <a16:creationId xmlns:a16="http://schemas.microsoft.com/office/drawing/2014/main" id="{25FF39C0-9984-4FD1-976A-9DA50F1D2894}"/>
                </a:ext>
              </a:extLst>
            </p:cNvPr>
            <p:cNvGraphicFramePr/>
            <p:nvPr/>
          </p:nvGraphicFramePr>
          <p:xfrm>
            <a:off x="724835" y="831476"/>
            <a:ext cx="511889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TextBox 19">
              <a:extLst>
                <a:ext uri="{FF2B5EF4-FFF2-40B4-BE49-F238E27FC236}">
                  <a16:creationId xmlns:a16="http://schemas.microsoft.com/office/drawing/2014/main" id="{F1677152-4BB0-4777-86BF-FF7C7BF6904A}"/>
                </a:ext>
              </a:extLst>
            </p:cNvPr>
            <p:cNvSpPr txBox="1"/>
            <p:nvPr/>
          </p:nvSpPr>
          <p:spPr>
            <a:xfrm>
              <a:off x="872188" y="6555962"/>
              <a:ext cx="3634740"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Implicitly created object</a:t>
              </a:r>
            </a:p>
          </p:txBody>
        </p:sp>
      </p:grpSp>
      <p:sp>
        <p:nvSpPr>
          <p:cNvPr id="13" name="Rectangle 12">
            <a:extLst>
              <a:ext uri="{FF2B5EF4-FFF2-40B4-BE49-F238E27FC236}">
                <a16:creationId xmlns:a16="http://schemas.microsoft.com/office/drawing/2014/main" id="{93C69F98-415A-4333-906D-72EE128FEB7A}"/>
              </a:ext>
            </a:extLst>
          </p:cNvPr>
          <p:cNvSpPr/>
          <p:nvPr/>
        </p:nvSpPr>
        <p:spPr bwMode="auto">
          <a:xfrm>
            <a:off x="907771" y="152401"/>
            <a:ext cx="4877279" cy="6301409"/>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External World</a:t>
            </a:r>
          </a:p>
        </p:txBody>
      </p:sp>
      <p:graphicFrame>
        <p:nvGraphicFramePr>
          <p:cNvPr id="5" name="Diagram 4">
            <a:extLst>
              <a:ext uri="{FF2B5EF4-FFF2-40B4-BE49-F238E27FC236}">
                <a16:creationId xmlns:a16="http://schemas.microsoft.com/office/drawing/2014/main" id="{4E860699-1A2D-4E6A-BD44-4AD5BB88DA26}"/>
              </a:ext>
            </a:extLst>
          </p:cNvPr>
          <p:cNvGraphicFramePr/>
          <p:nvPr/>
        </p:nvGraphicFramePr>
        <p:xfrm>
          <a:off x="1067385" y="798539"/>
          <a:ext cx="4669314" cy="545823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Arrow: Left-Right 7">
            <a:extLst>
              <a:ext uri="{FF2B5EF4-FFF2-40B4-BE49-F238E27FC236}">
                <a16:creationId xmlns:a16="http://schemas.microsoft.com/office/drawing/2014/main" id="{D5676CFA-3170-485E-A172-8E123258E13E}"/>
              </a:ext>
            </a:extLst>
          </p:cNvPr>
          <p:cNvSpPr/>
          <p:nvPr/>
        </p:nvSpPr>
        <p:spPr bwMode="auto">
          <a:xfrm>
            <a:off x="3941263" y="1140222"/>
            <a:ext cx="4043170" cy="32409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 name="Arrow: Left-Right 8">
            <a:extLst>
              <a:ext uri="{FF2B5EF4-FFF2-40B4-BE49-F238E27FC236}">
                <a16:creationId xmlns:a16="http://schemas.microsoft.com/office/drawing/2014/main" id="{BB1AE644-9D09-450B-9FD0-5910A9024933}"/>
              </a:ext>
            </a:extLst>
          </p:cNvPr>
          <p:cNvSpPr/>
          <p:nvPr/>
        </p:nvSpPr>
        <p:spPr bwMode="auto">
          <a:xfrm>
            <a:off x="3941262" y="3378763"/>
            <a:ext cx="4043171" cy="32409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 name="Arrow: Left-Right 9">
            <a:extLst>
              <a:ext uri="{FF2B5EF4-FFF2-40B4-BE49-F238E27FC236}">
                <a16:creationId xmlns:a16="http://schemas.microsoft.com/office/drawing/2014/main" id="{79472D71-7F63-4093-816C-633C2A7E9C5D}"/>
              </a:ext>
            </a:extLst>
          </p:cNvPr>
          <p:cNvSpPr/>
          <p:nvPr/>
        </p:nvSpPr>
        <p:spPr bwMode="auto">
          <a:xfrm>
            <a:off x="3941262" y="2264369"/>
            <a:ext cx="4043171" cy="32409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1" name="Arrow: Left-Right 10">
            <a:extLst>
              <a:ext uri="{FF2B5EF4-FFF2-40B4-BE49-F238E27FC236}">
                <a16:creationId xmlns:a16="http://schemas.microsoft.com/office/drawing/2014/main" id="{44A9BB91-1D5A-416D-A99B-CFB26A56C94E}"/>
              </a:ext>
            </a:extLst>
          </p:cNvPr>
          <p:cNvSpPr/>
          <p:nvPr/>
        </p:nvSpPr>
        <p:spPr bwMode="auto">
          <a:xfrm>
            <a:off x="5070851" y="4531425"/>
            <a:ext cx="1913046" cy="32409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 name="Arrow: Left-Right 11">
            <a:extLst>
              <a:ext uri="{FF2B5EF4-FFF2-40B4-BE49-F238E27FC236}">
                <a16:creationId xmlns:a16="http://schemas.microsoft.com/office/drawing/2014/main" id="{AA41C8D7-033C-4A44-98DC-9CDAD2FCC3D2}"/>
              </a:ext>
            </a:extLst>
          </p:cNvPr>
          <p:cNvSpPr/>
          <p:nvPr/>
        </p:nvSpPr>
        <p:spPr bwMode="auto">
          <a:xfrm>
            <a:off x="5714960" y="5675734"/>
            <a:ext cx="1202676" cy="32409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072045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xit" presetSubtype="0" fill="hold" grpId="1" nodeType="withEffect">
                                  <p:stCondLst>
                                    <p:cond delay="0"/>
                                  </p:stCondLst>
                                  <p:childTnLst>
                                    <p:set>
                                      <p:cBhvr>
                                        <p:cTn id="16" dur="1" fill="hold">
                                          <p:stCondLst>
                                            <p:cond delay="0"/>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1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xit" presetSubtype="0" fill="hold" grpId="1" nodeType="withEffect">
                                  <p:stCondLst>
                                    <p:cond delay="0"/>
                                  </p:stCondLst>
                                  <p:childTnLst>
                                    <p:set>
                                      <p:cBhvr>
                                        <p:cTn id="28" dur="1" fill="hold">
                                          <p:stCondLst>
                                            <p:cond delay="0"/>
                                          </p:stCondLst>
                                        </p:cTn>
                                        <p:tgtEl>
                                          <p:spTgt spid="9"/>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xit" presetSubtype="0" fill="hold" grpId="1"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latin typeface="Segoe UI Semibold" panose="020B0702040204020203" pitchFamily="34" charset="0"/>
                <a:cs typeface="Segoe UI Semibold" panose="020B0702040204020203" pitchFamily="34" charset="0"/>
              </a:rPr>
              <a:t>HostPool</a:t>
            </a:r>
            <a:r>
              <a:rPr lang="en-US" dirty="0">
                <a:latin typeface="Segoe UI Semibold" panose="020B0702040204020203" pitchFamily="34" charset="0"/>
                <a:cs typeface="Segoe UI Semibold" panose="020B0702040204020203" pitchFamily="34" charset="0"/>
              </a:rPr>
              <a:t> flexibility</a:t>
            </a:r>
          </a:p>
        </p:txBody>
      </p:sp>
      <p:sp>
        <p:nvSpPr>
          <p:cNvPr id="2" name="Content Placeholder 1"/>
          <p:cNvSpPr>
            <a:spLocks noGrp="1"/>
          </p:cNvSpPr>
          <p:nvPr>
            <p:ph type="body" sz="quarter" idx="10"/>
          </p:nvPr>
        </p:nvSpPr>
        <p:spPr>
          <a:xfrm>
            <a:off x="584200" y="1435497"/>
            <a:ext cx="11018520" cy="3213187"/>
          </a:xfrm>
        </p:spPr>
        <p:txBody>
          <a:bodyPr vert="horz" wrap="square" lIns="0" tIns="0" rIns="0" bIns="0" rtlCol="0" anchor="t">
            <a:spAutoFit/>
          </a:bodyPr>
          <a:lstStyle/>
          <a:p>
            <a:r>
              <a:rPr lang="en-US" sz="3600" dirty="0"/>
              <a:t>RemoteApp and desktop app groups</a:t>
            </a:r>
          </a:p>
          <a:p>
            <a:r>
              <a:rPr lang="en-US" sz="3600" dirty="0"/>
              <a:t>Set different load balancing algorithms</a:t>
            </a:r>
            <a:endParaRPr lang="en-US" sz="2000" dirty="0"/>
          </a:p>
          <a:p>
            <a:r>
              <a:rPr lang="en-US" sz="3600" dirty="0"/>
              <a:t>Single or multi-session session host VMs</a:t>
            </a:r>
          </a:p>
          <a:p>
            <a:r>
              <a:rPr lang="en-US" sz="3600" dirty="0"/>
              <a:t>Pooled or personal (future) session host VMs</a:t>
            </a:r>
          </a:p>
          <a:p>
            <a:pPr marL="0" indent="0">
              <a:buNone/>
            </a:pPr>
            <a:endParaRPr lang="en-US" sz="3600" dirty="0"/>
          </a:p>
        </p:txBody>
      </p:sp>
    </p:spTree>
    <p:extLst>
      <p:ext uri="{BB962C8B-B14F-4D97-AF65-F5344CB8AC3E}">
        <p14:creationId xmlns:p14="http://schemas.microsoft.com/office/powerpoint/2010/main" val="3848695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E698E-EB91-43D8-9252-5A4B4370EEF1}"/>
              </a:ext>
            </a:extLst>
          </p:cNvPr>
          <p:cNvSpPr>
            <a:spLocks noGrp="1"/>
          </p:cNvSpPr>
          <p:nvPr>
            <p:ph type="title"/>
          </p:nvPr>
        </p:nvSpPr>
        <p:spPr>
          <a:xfrm>
            <a:off x="588264" y="457200"/>
            <a:ext cx="6614294" cy="492443"/>
          </a:xfrm>
        </p:spPr>
        <p:txBody>
          <a:bodyPr/>
          <a:lstStyle/>
          <a:p>
            <a:r>
              <a:rPr lang="en-US" dirty="0"/>
              <a:t>Summary: Windows Virtual Desktop</a:t>
            </a:r>
          </a:p>
        </p:txBody>
      </p:sp>
      <p:sp>
        <p:nvSpPr>
          <p:cNvPr id="3" name="Text Placeholder 2">
            <a:extLst>
              <a:ext uri="{FF2B5EF4-FFF2-40B4-BE49-F238E27FC236}">
                <a16:creationId xmlns:a16="http://schemas.microsoft.com/office/drawing/2014/main" id="{DA8F648E-0E49-4A6B-B09F-E8A420F14CBD}"/>
              </a:ext>
            </a:extLst>
          </p:cNvPr>
          <p:cNvSpPr>
            <a:spLocks noGrp="1"/>
          </p:cNvSpPr>
          <p:nvPr>
            <p:ph type="body" sz="quarter" idx="4294967295"/>
          </p:nvPr>
        </p:nvSpPr>
        <p:spPr>
          <a:xfrm>
            <a:off x="584200" y="1345096"/>
            <a:ext cx="6334760" cy="2769989"/>
          </a:xfrm>
        </p:spPr>
        <p:txBody>
          <a:bodyPr vert="horz" wrap="square" lIns="0" tIns="0" rIns="0" bIns="0" rtlCol="0" anchor="t">
            <a:spAutoFit/>
          </a:bodyPr>
          <a:lstStyle/>
          <a:p>
            <a:pPr marL="0" indent="0">
              <a:spcBef>
                <a:spcPts val="2400"/>
              </a:spcBef>
              <a:buNone/>
              <a:defRPr/>
            </a:pPr>
            <a:r>
              <a:rPr lang="en-US" sz="2000" spc="-50" dirty="0">
                <a:ln w="3175">
                  <a:noFill/>
                </a:ln>
                <a:solidFill>
                  <a:schemeClr val="tx1"/>
                </a:solidFill>
                <a:latin typeface="+mn-lt"/>
                <a:cs typeface="Segoe UI" pitchFamily="34" charset="0"/>
              </a:rPr>
              <a:t>Simplifies management of Azure-hosted Windows</a:t>
            </a:r>
          </a:p>
          <a:p>
            <a:pPr marL="0" indent="0">
              <a:spcBef>
                <a:spcPts val="2400"/>
              </a:spcBef>
              <a:buNone/>
              <a:defRPr/>
            </a:pPr>
            <a:r>
              <a:rPr lang="en-US" sz="2000" spc="-50" dirty="0">
                <a:ln w="3175">
                  <a:noFill/>
                </a:ln>
                <a:solidFill>
                  <a:schemeClr val="tx1"/>
                </a:solidFill>
                <a:latin typeface="+mn-lt"/>
                <a:cs typeface="Segoe UI" pitchFamily="34" charset="0"/>
              </a:rPr>
              <a:t>Azure AD authentication enables new security features</a:t>
            </a:r>
          </a:p>
          <a:p>
            <a:pPr marL="0" indent="0">
              <a:spcBef>
                <a:spcPts val="2400"/>
              </a:spcBef>
              <a:buNone/>
              <a:defRPr/>
            </a:pPr>
            <a:r>
              <a:rPr lang="en-US" sz="2000" spc="-50" dirty="0">
                <a:ln w="3175">
                  <a:noFill/>
                </a:ln>
                <a:solidFill>
                  <a:schemeClr val="tx1"/>
                </a:solidFill>
                <a:latin typeface="+mn-lt"/>
                <a:cs typeface="Segoe UI" pitchFamily="34" charset="0"/>
              </a:rPr>
              <a:t>Reverse-connect isolates customer environments</a:t>
            </a:r>
            <a:endParaRPr lang="en-US" sz="2000" spc="-50" dirty="0">
              <a:solidFill>
                <a:schemeClr val="tx1"/>
              </a:solidFill>
              <a:latin typeface="+mn-lt"/>
              <a:cs typeface="Segoe UI" pitchFamily="34" charset="0"/>
            </a:endParaRPr>
          </a:p>
          <a:p>
            <a:pPr marL="0" indent="0">
              <a:spcBef>
                <a:spcPts val="2400"/>
              </a:spcBef>
              <a:buNone/>
              <a:defRPr/>
            </a:pPr>
            <a:r>
              <a:rPr lang="en-US" sz="2000" spc="-50" dirty="0">
                <a:ln w="3175">
                  <a:noFill/>
                </a:ln>
                <a:solidFill>
                  <a:schemeClr val="tx1"/>
                </a:solidFill>
                <a:latin typeface="+mn-lt"/>
                <a:cs typeface="Segoe UI" pitchFamily="34" charset="0"/>
              </a:rPr>
              <a:t>Multi-tenancy reduces cost while increasing flexibility</a:t>
            </a:r>
          </a:p>
          <a:p>
            <a:pPr marL="0" indent="0">
              <a:spcBef>
                <a:spcPts val="2400"/>
              </a:spcBef>
              <a:buNone/>
              <a:defRPr/>
            </a:pPr>
            <a:r>
              <a:rPr lang="en-US" sz="2000" spc="-50" dirty="0">
                <a:ln w="3175">
                  <a:noFill/>
                </a:ln>
                <a:solidFill>
                  <a:schemeClr val="tx1"/>
                </a:solidFill>
                <a:latin typeface="+mn-lt"/>
                <a:cs typeface="Segoe UI" pitchFamily="34" charset="0"/>
              </a:rPr>
              <a:t>Extensible platform enables rich partner ecosystem</a:t>
            </a:r>
            <a:endParaRPr lang="en-US" sz="2000" spc="-50" dirty="0">
              <a:solidFill>
                <a:schemeClr val="tx1"/>
              </a:solidFill>
              <a:latin typeface="+mn-lt"/>
              <a:cs typeface="Segoe UI" pitchFamily="34" charset="0"/>
            </a:endParaRPr>
          </a:p>
        </p:txBody>
      </p:sp>
      <p:pic>
        <p:nvPicPr>
          <p:cNvPr id="7" name="Picture 6" descr="A person standing in front of a computer&#10;&#10;Description generated with very high confidence">
            <a:extLst>
              <a:ext uri="{FF2B5EF4-FFF2-40B4-BE49-F238E27FC236}">
                <a16:creationId xmlns:a16="http://schemas.microsoft.com/office/drawing/2014/main" id="{3F40D1E6-B9AB-413E-86BF-AB4FC5E1AEE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1919" t="2489" r="23642" b="6054"/>
          <a:stretch/>
        </p:blipFill>
        <p:spPr>
          <a:xfrm>
            <a:off x="7327392" y="292100"/>
            <a:ext cx="4570921" cy="6272213"/>
          </a:xfrm>
          <a:prstGeom prst="rect">
            <a:avLst/>
          </a:prstGeom>
          <a:solidFill>
            <a:schemeClr val="accent5"/>
          </a:solidFill>
          <a:ln>
            <a:noFill/>
            <a:headEnd type="none" w="med" len="med"/>
            <a:tailEnd type="none" w="med" len="med"/>
          </a:ln>
          <a:effectLst>
            <a:outerShdw blurRad="190500" dist="38100" dir="2700000" algn="tl" rotWithShape="0">
              <a:prstClr val="black">
                <a:alpha val="40000"/>
              </a:prstClr>
            </a:outerShdw>
          </a:effectLst>
        </p:spPr>
      </p:pic>
      <p:sp>
        <p:nvSpPr>
          <p:cNvPr id="4" name="Rectangle 3">
            <a:extLst>
              <a:ext uri="{FF2B5EF4-FFF2-40B4-BE49-F238E27FC236}">
                <a16:creationId xmlns:a16="http://schemas.microsoft.com/office/drawing/2014/main" id="{99E5BBA1-B035-4711-8F29-690F17CF5EAD}"/>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D1FB1A8E-C582-42F6-BEC0-B772C89F10F9}"/>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4FF7456-8D7F-4549-B88C-BF163ACDE771}"/>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269992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Example: Dynamic Scaling of Virtual Machines</a:t>
            </a:r>
          </a:p>
        </p:txBody>
      </p:sp>
      <p:sp>
        <p:nvSpPr>
          <p:cNvPr id="2" name="Content Placeholder 1"/>
          <p:cNvSpPr>
            <a:spLocks noGrp="1"/>
          </p:cNvSpPr>
          <p:nvPr>
            <p:ph type="body" sz="quarter" idx="10"/>
          </p:nvPr>
        </p:nvSpPr>
        <p:spPr>
          <a:xfrm>
            <a:off x="584200" y="1435496"/>
            <a:ext cx="11018520" cy="4444294"/>
          </a:xfrm>
        </p:spPr>
        <p:txBody>
          <a:bodyPr vert="horz" wrap="square" lIns="0" tIns="0" rIns="0" bIns="0" rtlCol="0" anchor="t">
            <a:spAutoFit/>
          </a:bodyPr>
          <a:lstStyle/>
          <a:p>
            <a:r>
              <a:rPr lang="en-US" sz="3200" dirty="0"/>
              <a:t>PowerShell script sample </a:t>
            </a:r>
          </a:p>
          <a:p>
            <a:r>
              <a:rPr lang="en-US" sz="3200" dirty="0"/>
              <a:t>Runs as scheduled task </a:t>
            </a:r>
          </a:p>
          <a:p>
            <a:r>
              <a:rPr lang="en-US" sz="3200" dirty="0"/>
              <a:t>Reads XML file: start-, end-of-day, VM min, threshold, …</a:t>
            </a:r>
          </a:p>
          <a:p>
            <a:r>
              <a:rPr lang="en-US" sz="3200" dirty="0"/>
              <a:t>End-of-day</a:t>
            </a:r>
          </a:p>
          <a:p>
            <a:pPr marL="842645" lvl="3"/>
            <a:r>
              <a:rPr lang="en-US" sz="1600" dirty="0"/>
              <a:t>Set VMs (except VM min) to drain mode (don’t allow new connections)</a:t>
            </a:r>
            <a:endParaRPr lang="en-US" sz="1600" dirty="0">
              <a:cs typeface="Segoe UI"/>
            </a:endParaRPr>
          </a:p>
          <a:p>
            <a:pPr marL="842645" lvl="3"/>
            <a:r>
              <a:rPr lang="en-US" sz="1600" dirty="0"/>
              <a:t>Notify and sign users out</a:t>
            </a:r>
            <a:endParaRPr lang="en-US" sz="1600" dirty="0">
              <a:cs typeface="Segoe UI"/>
            </a:endParaRPr>
          </a:p>
          <a:p>
            <a:r>
              <a:rPr lang="en-US" sz="3200" dirty="0"/>
              <a:t>Start-of-day</a:t>
            </a:r>
          </a:p>
          <a:p>
            <a:pPr lvl="2"/>
            <a:r>
              <a:rPr lang="en-US" sz="1800" dirty="0"/>
              <a:t>Set all VMs to fill-mode (allow new connections)</a:t>
            </a:r>
            <a:endParaRPr lang="en-US" sz="1800" dirty="0">
              <a:cs typeface="Segoe UI"/>
            </a:endParaRPr>
          </a:p>
          <a:p>
            <a:pPr lvl="2"/>
            <a:r>
              <a:rPr lang="en-US" sz="1800" dirty="0"/>
              <a:t>Start VM when user sessions/vCPU threshold is passed</a:t>
            </a:r>
            <a:endParaRPr lang="en-US" sz="1800" dirty="0">
              <a:cs typeface="Segoe UI"/>
            </a:endParaRPr>
          </a:p>
          <a:p>
            <a:pPr marL="669925" lvl="2" indent="0">
              <a:buNone/>
            </a:pPr>
            <a:endParaRPr lang="en-US" sz="1800" dirty="0">
              <a:cs typeface="Segoe UI"/>
            </a:endParaRPr>
          </a:p>
        </p:txBody>
      </p:sp>
    </p:spTree>
    <p:extLst>
      <p:ext uri="{BB962C8B-B14F-4D97-AF65-F5344CB8AC3E}">
        <p14:creationId xmlns:p14="http://schemas.microsoft.com/office/powerpoint/2010/main" val="33625544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E6A96E-C480-4C1A-8C8C-434FDCD7B4A7}"/>
              </a:ext>
              <a:ext uri="{C183D7F6-B498-43B3-948B-1728B52AA6E4}">
                <adec:decorative xmlns:adec="http://schemas.microsoft.com/office/drawing/2017/decorative" val="1"/>
              </a:ext>
            </a:extLst>
          </p:cNvPr>
          <p:cNvSpPr/>
          <p:nvPr/>
        </p:nvSpPr>
        <p:spPr bwMode="auto">
          <a:xfrm>
            <a:off x="0" y="891253"/>
            <a:ext cx="4930815" cy="1088020"/>
          </a:xfrm>
          <a:prstGeom prst="rect">
            <a:avLst/>
          </a:prstGeom>
          <a:solidFill>
            <a:schemeClr val="accent1"/>
          </a:solidFill>
          <a:ln>
            <a:noFill/>
            <a:headEnd type="none" w="med" len="med"/>
            <a:tailEnd type="none" w="med" len="med"/>
          </a:ln>
          <a:effectLst>
            <a:outerShdw blurRad="190500" dist="50800" dir="27000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B5B20D92-C3B3-415E-98D3-AF1BBCFF879B}"/>
              </a:ext>
            </a:extLst>
          </p:cNvPr>
          <p:cNvSpPr>
            <a:spLocks noGrp="1"/>
          </p:cNvSpPr>
          <p:nvPr>
            <p:ph type="title"/>
          </p:nvPr>
        </p:nvSpPr>
        <p:spPr/>
        <p:txBody>
          <a:bodyPr/>
          <a:lstStyle/>
          <a:p>
            <a:r>
              <a:rPr lang="en-US" sz="4400">
                <a:solidFill>
                  <a:schemeClr val="bg2"/>
                </a:solidFill>
              </a:rPr>
              <a:t>End of Module 1 </a:t>
            </a:r>
            <a:br>
              <a:rPr lang="en-US" sz="4400">
                <a:solidFill>
                  <a:schemeClr val="bg2"/>
                </a:solidFill>
              </a:rPr>
            </a:br>
            <a:br>
              <a:rPr lang="en-US" sz="4400">
                <a:solidFill>
                  <a:schemeClr val="bg2"/>
                </a:solidFill>
              </a:rPr>
            </a:br>
            <a:r>
              <a:rPr lang="en-US"/>
              <a:t>Thank you</a:t>
            </a:r>
            <a:endParaRPr lang="en-US">
              <a:solidFill>
                <a:schemeClr val="bg2"/>
              </a:solidFill>
            </a:endParaRPr>
          </a:p>
        </p:txBody>
      </p:sp>
    </p:spTree>
    <p:extLst>
      <p:ext uri="{BB962C8B-B14F-4D97-AF65-F5344CB8AC3E}">
        <p14:creationId xmlns:p14="http://schemas.microsoft.com/office/powerpoint/2010/main" val="27891791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5E7512-6733-48A7-ACD1-F92F33F94C9E}"/>
              </a:ext>
            </a:extLst>
          </p:cNvPr>
          <p:cNvSpPr>
            <a:spLocks noGrp="1"/>
          </p:cNvSpPr>
          <p:nvPr>
            <p:ph type="title"/>
          </p:nvPr>
        </p:nvSpPr>
        <p:spPr>
          <a:xfrm>
            <a:off x="429771" y="1438964"/>
            <a:ext cx="4035903" cy="3535032"/>
          </a:xfrm>
        </p:spPr>
        <p:txBody>
          <a:bodyPr/>
          <a:lstStyle/>
          <a:p>
            <a:r>
              <a:rPr lang="en-US" sz="4800">
                <a:solidFill>
                  <a:schemeClr val="accent1"/>
                </a:solidFill>
              </a:rPr>
              <a:t>Module 1: </a:t>
            </a:r>
            <a:r>
              <a:rPr lang="en-US" sz="4800"/>
              <a:t>Introduction</a:t>
            </a:r>
          </a:p>
        </p:txBody>
      </p:sp>
      <p:sp>
        <p:nvSpPr>
          <p:cNvPr id="5" name="Rectangle 4">
            <a:extLst>
              <a:ext uri="{FF2B5EF4-FFF2-40B4-BE49-F238E27FC236}">
                <a16:creationId xmlns:a16="http://schemas.microsoft.com/office/drawing/2014/main" id="{CB1024E6-14F8-4F07-8ED2-408E2B1574D1}"/>
              </a:ext>
              <a:ext uri="{C183D7F6-B498-43B3-948B-1728B52AA6E4}">
                <adec:decorative xmlns:adec="http://schemas.microsoft.com/office/drawing/2017/decorative" val="1"/>
              </a:ext>
            </a:extLst>
          </p:cNvPr>
          <p:cNvSpPr/>
          <p:nvPr/>
        </p:nvSpPr>
        <p:spPr bwMode="auto">
          <a:xfrm>
            <a:off x="4731488" y="0"/>
            <a:ext cx="7460512" cy="6858000"/>
          </a:xfrm>
          <a:prstGeom prst="rect">
            <a:avLst/>
          </a:prstGeom>
          <a:solidFill>
            <a:schemeClr val="accent1"/>
          </a:solidFill>
          <a:ln>
            <a:noFill/>
            <a:headEnd type="none" w="med" len="med"/>
            <a:tailEnd type="none" w="med" len="med"/>
          </a:ln>
          <a:effectLst>
            <a:outerShdw blurRad="190500" dist="50800" dir="2700000" sx="101000" sy="101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C517BB91-66DC-44D0-A2BA-C367D27D915C}"/>
              </a:ext>
            </a:extLst>
          </p:cNvPr>
          <p:cNvSpPr/>
          <p:nvPr/>
        </p:nvSpPr>
        <p:spPr>
          <a:xfrm>
            <a:off x="5294127" y="1438964"/>
            <a:ext cx="6335233" cy="461665"/>
          </a:xfrm>
          <a:prstGeom prst="rect">
            <a:avLst/>
          </a:prstGeom>
        </p:spPr>
        <p:txBody>
          <a:bodyPr wrap="square">
            <a:spAutoFit/>
          </a:bodyPr>
          <a:lstStyle/>
          <a:p>
            <a:pPr lvl="0" defTabSz="914367">
              <a:spcBef>
                <a:spcPts val="1961"/>
              </a:spcBef>
              <a:buSzPct val="90000"/>
              <a:defRPr/>
            </a:pPr>
            <a:r>
              <a:rPr lang="en-US" sz="2400" dirty="0">
                <a:solidFill>
                  <a:schemeClr val="bg2"/>
                </a:solidFill>
                <a:latin typeface="+mj-lt"/>
              </a:rPr>
              <a:t>Windows Virtual Desktop</a:t>
            </a:r>
          </a:p>
        </p:txBody>
      </p:sp>
      <p:sp>
        <p:nvSpPr>
          <p:cNvPr id="9" name="Rectangle 8">
            <a:extLst>
              <a:ext uri="{FF2B5EF4-FFF2-40B4-BE49-F238E27FC236}">
                <a16:creationId xmlns:a16="http://schemas.microsoft.com/office/drawing/2014/main" id="{002B413C-D57A-467F-B2FB-CC2CEEEC2383}"/>
              </a:ext>
            </a:extLst>
          </p:cNvPr>
          <p:cNvSpPr/>
          <p:nvPr/>
        </p:nvSpPr>
        <p:spPr>
          <a:xfrm>
            <a:off x="5294128" y="2788236"/>
            <a:ext cx="5438040" cy="707886"/>
          </a:xfrm>
          <a:prstGeom prst="rect">
            <a:avLst/>
          </a:prstGeom>
        </p:spPr>
        <p:txBody>
          <a:bodyPr wrap="square">
            <a:spAutoFit/>
          </a:bodyPr>
          <a:lstStyle/>
          <a:p>
            <a:pPr lvl="0" defTabSz="914367">
              <a:spcBef>
                <a:spcPts val="1961"/>
              </a:spcBef>
              <a:buSzPct val="90000"/>
              <a:defRPr/>
            </a:pPr>
            <a:r>
              <a:rPr lang="en-US" sz="2000" dirty="0">
                <a:solidFill>
                  <a:schemeClr val="bg2"/>
                </a:solidFill>
              </a:rPr>
              <a:t>Short history around the origins of Windows Virtual Desktop</a:t>
            </a:r>
          </a:p>
        </p:txBody>
      </p:sp>
      <p:cxnSp>
        <p:nvCxnSpPr>
          <p:cNvPr id="10" name="Straight Connector 9">
            <a:extLst>
              <a:ext uri="{FF2B5EF4-FFF2-40B4-BE49-F238E27FC236}">
                <a16:creationId xmlns:a16="http://schemas.microsoft.com/office/drawing/2014/main" id="{A3BB9586-B0B1-480F-9253-8ED3FA97D199}"/>
              </a:ext>
              <a:ext uri="{C183D7F6-B498-43B3-948B-1728B52AA6E4}">
                <adec:decorative xmlns:adec="http://schemas.microsoft.com/office/drawing/2017/decorative" val="1"/>
              </a:ext>
            </a:extLst>
          </p:cNvPr>
          <p:cNvCxnSpPr>
            <a:cxnSpLocks/>
          </p:cNvCxnSpPr>
          <p:nvPr/>
        </p:nvCxnSpPr>
        <p:spPr>
          <a:xfrm>
            <a:off x="5359138" y="2481212"/>
            <a:ext cx="6038964"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58925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at a table&#10;">
            <a:extLst>
              <a:ext uri="{FF2B5EF4-FFF2-40B4-BE49-F238E27FC236}">
                <a16:creationId xmlns:a16="http://schemas.microsoft.com/office/drawing/2014/main" id="{E184E19B-76BF-4291-A0A4-241546A4A8E2}"/>
              </a:ext>
            </a:extLst>
          </p:cNvPr>
          <p:cNvPicPr>
            <a:picLocks noChangeAspect="1"/>
          </p:cNvPicPr>
          <p:nvPr/>
        </p:nvPicPr>
        <p:blipFill rotWithShape="1">
          <a:blip r:embed="rId3">
            <a:extLst>
              <a:ext uri="{28A0092B-C50C-407E-A947-70E740481C1C}">
                <a14:useLocalDpi xmlns:a14="http://schemas.microsoft.com/office/drawing/2010/main" val="0"/>
              </a:ext>
            </a:extLst>
          </a:blip>
          <a:srcRect r="8265" b="8265"/>
          <a:stretch/>
        </p:blipFill>
        <p:spPr>
          <a:xfrm>
            <a:off x="263905" y="254163"/>
            <a:ext cx="11658857" cy="4243124"/>
          </a:xfrm>
          <a:prstGeom prst="rect">
            <a:avLst/>
          </a:prstGeom>
          <a:solidFill>
            <a:schemeClr val="bg1"/>
          </a:solidFill>
          <a:ln>
            <a:noFill/>
            <a:headEnd type="none" w="med" len="med"/>
            <a:tailEnd type="none" w="med" len="med"/>
          </a:ln>
          <a:effectLst>
            <a:outerShdw blurRad="190500" dist="50800" dir="8100000" algn="tr" rotWithShape="0">
              <a:prstClr val="black">
                <a:alpha val="25000"/>
              </a:prstClr>
            </a:outerShdw>
          </a:effectLst>
        </p:spPr>
      </p:pic>
      <p:sp>
        <p:nvSpPr>
          <p:cNvPr id="26" name="Rectangle 25">
            <a:extLst>
              <a:ext uri="{FF2B5EF4-FFF2-40B4-BE49-F238E27FC236}">
                <a16:creationId xmlns:a16="http://schemas.microsoft.com/office/drawing/2014/main" id="{DB4BA766-FA38-4FA5-8024-15FD35B951F6}"/>
              </a:ext>
            </a:extLst>
          </p:cNvPr>
          <p:cNvSpPr/>
          <p:nvPr/>
        </p:nvSpPr>
        <p:spPr bwMode="auto">
          <a:xfrm>
            <a:off x="1360074" y="5365495"/>
            <a:ext cx="1765092" cy="1438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68927" rIns="179285" bIns="143428" numCol="1" spcCol="36576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working remotely by 2020</a:t>
            </a:r>
            <a:endParaRPr kumimoji="0" lang="en-US" sz="1372" b="0" i="0" u="none" strike="noStrike" kern="1200" cap="none" spc="0" normalizeH="0" baseline="3000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ctr" defTabSz="914102" rtl="0" eaLnBrk="1" fontAlgn="base" latinLnBrk="0" hangingPunct="1">
              <a:lnSpc>
                <a:spcPct val="90000"/>
              </a:lnSpc>
              <a:spcBef>
                <a:spcPct val="0"/>
              </a:spcBef>
              <a:spcAft>
                <a:spcPts val="0"/>
              </a:spcAft>
              <a:buClrTx/>
              <a:buSzTx/>
              <a:buFontTx/>
              <a:buNone/>
              <a:tabLst/>
              <a:defRPr/>
            </a:pPr>
            <a:endParaRPr kumimoji="0" lang="en-US" sz="1372" b="0" i="0" u="none" strike="noStrike" kern="1200" cap="none" spc="0" normalizeH="0" baseline="3000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ctr" defTabSz="914102" rtl="0" eaLnBrk="1" fontAlgn="base" latinLnBrk="0" hangingPunct="1">
              <a:lnSpc>
                <a:spcPct val="90000"/>
              </a:lnSpc>
              <a:spcBef>
                <a:spcPct val="0"/>
              </a:spcBef>
              <a:spcAft>
                <a:spcPts val="0"/>
              </a:spcAft>
              <a:buClrTx/>
              <a:buSzTx/>
              <a:buFontTx/>
              <a:buNone/>
              <a:tabLst/>
              <a:defRPr/>
            </a:pPr>
            <a:endParaRPr kumimoji="0" lang="en-US" sz="1372"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37" name="Rectangle 36">
            <a:extLst>
              <a:ext uri="{FF2B5EF4-FFF2-40B4-BE49-F238E27FC236}">
                <a16:creationId xmlns:a16="http://schemas.microsoft.com/office/drawing/2014/main" id="{99E56A07-D7ED-4919-A9F2-FA297915C5CB}"/>
              </a:ext>
            </a:extLst>
          </p:cNvPr>
          <p:cNvSpPr/>
          <p:nvPr/>
        </p:nvSpPr>
        <p:spPr bwMode="auto">
          <a:xfrm>
            <a:off x="8580963" y="5386727"/>
            <a:ext cx="2727504" cy="14174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68927" rIns="179285" bIns="143428" numCol="1" spcCol="36576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of SMB’s lack the skills to deal with security issues</a:t>
            </a:r>
            <a:endParaRPr kumimoji="0" lang="en-US" sz="1372"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8" name="Title 1">
            <a:extLst>
              <a:ext uri="{FF2B5EF4-FFF2-40B4-BE49-F238E27FC236}">
                <a16:creationId xmlns:a16="http://schemas.microsoft.com/office/drawing/2014/main" id="{8A52E7D5-9210-4175-B7DC-ECFFDB16766A}"/>
              </a:ext>
            </a:extLst>
          </p:cNvPr>
          <p:cNvSpPr txBox="1">
            <a:spLocks/>
          </p:cNvSpPr>
          <p:nvPr/>
        </p:nvSpPr>
        <p:spPr>
          <a:xfrm>
            <a:off x="426426" y="4911329"/>
            <a:ext cx="3632387" cy="660764"/>
          </a:xfrm>
          <a:prstGeom prst="rect">
            <a:avLst/>
          </a:prstGeom>
        </p:spPr>
        <p:txBody>
          <a:bodyPr vert="horz" wrap="square" lIns="0" tIns="62733"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4313" b="0" i="0" u="none" strike="noStrike" kern="1200" cap="none" spc="-49" normalizeH="0" baseline="0" noProof="0">
                <a:ln w="3175">
                  <a:noFill/>
                </a:ln>
                <a:solidFill>
                  <a:srgbClr val="0078D4"/>
                </a:solidFill>
                <a:effectLst/>
                <a:uLnTx/>
                <a:uFillTx/>
                <a:latin typeface="Segoe UI Semibold"/>
                <a:ea typeface="+mn-ea"/>
                <a:cs typeface="Segoe UI" pitchFamily="34" charset="0"/>
              </a:rPr>
              <a:t>72</a:t>
            </a:r>
            <a:r>
              <a:rPr kumimoji="0" lang="en-US" sz="3137" b="0" i="0" u="none" strike="noStrike" kern="1200" cap="none" spc="-49" normalizeH="0" baseline="0" noProof="0">
                <a:ln w="3175">
                  <a:noFill/>
                </a:ln>
                <a:solidFill>
                  <a:srgbClr val="0078D4"/>
                </a:solidFill>
                <a:effectLst/>
                <a:uLnTx/>
                <a:uFillTx/>
                <a:latin typeface="Segoe UI Semibold"/>
                <a:ea typeface="+mn-ea"/>
                <a:cs typeface="Segoe UI" pitchFamily="34" charset="0"/>
              </a:rPr>
              <a:t>%</a:t>
            </a:r>
          </a:p>
        </p:txBody>
      </p:sp>
      <p:sp>
        <p:nvSpPr>
          <p:cNvPr id="28" name="Title 1">
            <a:extLst>
              <a:ext uri="{FF2B5EF4-FFF2-40B4-BE49-F238E27FC236}">
                <a16:creationId xmlns:a16="http://schemas.microsoft.com/office/drawing/2014/main" id="{179E443C-6F0C-4079-A11B-3E8EBBBBDC40}"/>
              </a:ext>
            </a:extLst>
          </p:cNvPr>
          <p:cNvSpPr txBox="1">
            <a:spLocks/>
          </p:cNvSpPr>
          <p:nvPr/>
        </p:nvSpPr>
        <p:spPr>
          <a:xfrm>
            <a:off x="8126964" y="4900580"/>
            <a:ext cx="3792213" cy="660689"/>
          </a:xfrm>
          <a:prstGeom prst="rect">
            <a:avLst/>
          </a:prstGeom>
        </p:spPr>
        <p:txBody>
          <a:bodyPr vert="horz" wrap="square" lIns="0" tIns="62733"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02" rtl="0" eaLnBrk="1" fontAlgn="base" latinLnBrk="0" hangingPunct="1">
              <a:lnSpc>
                <a:spcPct val="90000"/>
              </a:lnSpc>
              <a:spcBef>
                <a:spcPct val="0"/>
              </a:spcBef>
              <a:spcAft>
                <a:spcPts val="0"/>
              </a:spcAft>
              <a:buClrTx/>
              <a:buSzTx/>
              <a:buFontTx/>
              <a:buNone/>
              <a:tabLst/>
              <a:defRPr/>
            </a:pPr>
            <a:r>
              <a:rPr lang="en-US" sz="4313" spc="-49">
                <a:solidFill>
                  <a:srgbClr val="0078D4"/>
                </a:solidFill>
                <a:latin typeface="Segoe UI Semibold"/>
              </a:rPr>
              <a:t>62</a:t>
            </a:r>
            <a:r>
              <a:rPr kumimoji="0" lang="en-US" sz="3137" b="0" i="0" u="none" strike="noStrike" kern="1200" cap="none" spc="-49" normalizeH="0" baseline="0" noProof="0">
                <a:ln w="3175">
                  <a:noFill/>
                </a:ln>
                <a:solidFill>
                  <a:srgbClr val="0078D4"/>
                </a:solidFill>
                <a:effectLst/>
                <a:uLnTx/>
                <a:uFillTx/>
                <a:latin typeface="Segoe UI Semibold"/>
                <a:ea typeface="+mn-ea"/>
                <a:cs typeface="Segoe UI" pitchFamily="34" charset="0"/>
              </a:rPr>
              <a:t>%</a:t>
            </a:r>
          </a:p>
        </p:txBody>
      </p:sp>
      <p:sp>
        <p:nvSpPr>
          <p:cNvPr id="32" name="Rectangle 31">
            <a:extLst>
              <a:ext uri="{FF2B5EF4-FFF2-40B4-BE49-F238E27FC236}">
                <a16:creationId xmlns:a16="http://schemas.microsoft.com/office/drawing/2014/main" id="{C1E4C72D-8002-4984-AAE6-AAA8D38E02BA}"/>
              </a:ext>
            </a:extLst>
          </p:cNvPr>
          <p:cNvSpPr/>
          <p:nvPr/>
        </p:nvSpPr>
        <p:spPr bwMode="auto">
          <a:xfrm>
            <a:off x="265653" y="260767"/>
            <a:ext cx="11653523" cy="4242454"/>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147" normalizeH="0" baseline="0" noProof="0">
                <a:ln w="3175">
                  <a:noFill/>
                </a:ln>
                <a:solidFill>
                  <a:srgbClr val="FFFFFF"/>
                </a:solidFill>
                <a:effectLst/>
                <a:uLnTx/>
                <a:uFillTx/>
                <a:latin typeface="Segoe UI Semibold"/>
                <a:ea typeface="+mn-ea"/>
                <a:cs typeface="Segoe UI" pitchFamily="34" charset="0"/>
              </a:rPr>
              <a:t>Today’s world of work</a:t>
            </a:r>
          </a:p>
        </p:txBody>
      </p:sp>
      <p:sp>
        <p:nvSpPr>
          <p:cNvPr id="10" name="Rectangle 9">
            <a:extLst>
              <a:ext uri="{FF2B5EF4-FFF2-40B4-BE49-F238E27FC236}">
                <a16:creationId xmlns:a16="http://schemas.microsoft.com/office/drawing/2014/main" id="{D39BB3D9-F6A5-497E-9D82-566E993A45A5}"/>
              </a:ext>
            </a:extLst>
          </p:cNvPr>
          <p:cNvSpPr/>
          <p:nvPr/>
        </p:nvSpPr>
        <p:spPr bwMode="auto">
          <a:xfrm>
            <a:off x="4669520" y="5372591"/>
            <a:ext cx="2846734" cy="1410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263640" rIns="175761" bIns="140609" numCol="1" spcCol="36576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ts val="0"/>
              </a:spcAft>
              <a:buClrTx/>
              <a:buSzTx/>
              <a:buFontTx/>
              <a:buNone/>
              <a:tabLst/>
              <a:defRPr/>
            </a:pPr>
            <a:r>
              <a:rPr kumimoji="0" lang="en-US" sz="1345"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Of cyber breaches take place at small and medium businesses</a:t>
            </a:r>
            <a:endParaRPr kumimoji="0" lang="en-US" sz="1345"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96094" rtl="0" eaLnBrk="1" fontAlgn="base" latinLnBrk="0" hangingPunct="1">
              <a:lnSpc>
                <a:spcPct val="90000"/>
              </a:lnSpc>
              <a:spcBef>
                <a:spcPct val="0"/>
              </a:spcBef>
              <a:spcAft>
                <a:spcPts val="0"/>
              </a:spcAft>
              <a:buClrTx/>
              <a:buSzTx/>
              <a:buFontTx/>
              <a:buNone/>
              <a:tabLst/>
              <a:defRPr/>
            </a:pPr>
            <a:endParaRPr kumimoji="0" lang="en-US" sz="134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1" name="Title 1">
            <a:extLst>
              <a:ext uri="{FF2B5EF4-FFF2-40B4-BE49-F238E27FC236}">
                <a16:creationId xmlns:a16="http://schemas.microsoft.com/office/drawing/2014/main" id="{F231890E-1DCC-4B2B-B64F-F6C1A2883D16}"/>
              </a:ext>
            </a:extLst>
          </p:cNvPr>
          <p:cNvSpPr txBox="1">
            <a:spLocks/>
          </p:cNvSpPr>
          <p:nvPr/>
        </p:nvSpPr>
        <p:spPr>
          <a:xfrm>
            <a:off x="4316973" y="4900541"/>
            <a:ext cx="3551828" cy="647775"/>
          </a:xfrm>
          <a:prstGeom prst="rect">
            <a:avLst/>
          </a:prstGeom>
        </p:spPr>
        <p:txBody>
          <a:bodyPr vert="horz" wrap="square" lIns="0" tIns="6150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094" rtl="0" eaLnBrk="1" fontAlgn="base" latinLnBrk="0" hangingPunct="1">
              <a:lnSpc>
                <a:spcPct val="90000"/>
              </a:lnSpc>
              <a:spcBef>
                <a:spcPct val="0"/>
              </a:spcBef>
              <a:spcAft>
                <a:spcPts val="0"/>
              </a:spcAft>
              <a:buClrTx/>
              <a:buSzTx/>
              <a:buFontTx/>
              <a:buNone/>
              <a:tabLst/>
              <a:defRPr/>
            </a:pPr>
            <a:r>
              <a:rPr kumimoji="0" lang="en-US" sz="4228" b="0" i="0" u="none" strike="noStrike" kern="1200" cap="none" spc="-48" normalizeH="0" baseline="0" noProof="0">
                <a:ln w="3175">
                  <a:noFill/>
                </a:ln>
                <a:solidFill>
                  <a:srgbClr val="0078D4"/>
                </a:solidFill>
                <a:effectLst/>
                <a:uLnTx/>
                <a:uFillTx/>
                <a:latin typeface="Segoe UI Semibold"/>
                <a:ea typeface="+mn-ea"/>
                <a:cs typeface="Segoe UI" pitchFamily="34" charset="0"/>
              </a:rPr>
              <a:t>58%</a:t>
            </a:r>
            <a:endParaRPr kumimoji="0" lang="en-US" sz="3075" b="0" i="0" u="none" strike="noStrike" kern="1200" cap="none" spc="-48" normalizeH="0" baseline="0" noProof="0">
              <a:ln w="3175">
                <a:noFill/>
              </a:ln>
              <a:solidFill>
                <a:srgbClr val="0078D4"/>
              </a:solidFill>
              <a:effectLst/>
              <a:uLnTx/>
              <a:uFillTx/>
              <a:latin typeface="Segoe UI Semibold"/>
              <a:ea typeface="+mn-ea"/>
              <a:cs typeface="Segoe UI" pitchFamily="34" charset="0"/>
            </a:endParaRPr>
          </a:p>
        </p:txBody>
      </p:sp>
      <p:sp>
        <p:nvSpPr>
          <p:cNvPr id="12" name="Rectangle 11">
            <a:extLst>
              <a:ext uri="{FF2B5EF4-FFF2-40B4-BE49-F238E27FC236}">
                <a16:creationId xmlns:a16="http://schemas.microsoft.com/office/drawing/2014/main" id="{5558D668-2CB1-4583-8553-9CA5F1833057}"/>
              </a:ext>
            </a:extLst>
          </p:cNvPr>
          <p:cNvSpPr/>
          <p:nvPr/>
        </p:nvSpPr>
        <p:spPr bwMode="auto">
          <a:xfrm>
            <a:off x="-11476937" y="5365823"/>
            <a:ext cx="2975931" cy="1438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68927" rIns="179285" bIns="143428" numCol="1" spcCol="36576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Five generations in the workforce for the first time in history</a:t>
            </a:r>
            <a:endParaRPr kumimoji="0" lang="en-US" sz="1372" b="0" i="0" u="none" strike="noStrike" kern="1200" cap="none" spc="0" normalizeH="0" baseline="3000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ctr" defTabSz="914102" rtl="0" eaLnBrk="1" fontAlgn="base" latinLnBrk="0" hangingPunct="1">
              <a:lnSpc>
                <a:spcPct val="90000"/>
              </a:lnSpc>
              <a:spcBef>
                <a:spcPct val="0"/>
              </a:spcBef>
              <a:spcAft>
                <a:spcPts val="0"/>
              </a:spcAft>
              <a:buClrTx/>
              <a:buSzTx/>
              <a:buFontTx/>
              <a:buNone/>
              <a:tabLst/>
              <a:defRPr/>
            </a:pPr>
            <a:endParaRPr kumimoji="0" lang="en-US" sz="1372" b="0" i="0" u="none" strike="noStrike" kern="1200" cap="none" spc="0" normalizeH="0" baseline="3000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ctr" defTabSz="914102" rtl="0" eaLnBrk="1" fontAlgn="base" latinLnBrk="0" hangingPunct="1">
              <a:lnSpc>
                <a:spcPct val="90000"/>
              </a:lnSpc>
              <a:spcBef>
                <a:spcPct val="0"/>
              </a:spcBef>
              <a:spcAft>
                <a:spcPts val="0"/>
              </a:spcAft>
              <a:buClrTx/>
              <a:buSzTx/>
              <a:buFontTx/>
              <a:buNone/>
              <a:tabLst/>
              <a:defRPr/>
            </a:pPr>
            <a:endParaRPr kumimoji="0" lang="en-US" sz="1372"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3" name="Rectangle 12">
            <a:extLst>
              <a:ext uri="{FF2B5EF4-FFF2-40B4-BE49-F238E27FC236}">
                <a16:creationId xmlns:a16="http://schemas.microsoft.com/office/drawing/2014/main" id="{76A05495-9678-4280-8AE1-C6D952194FC4}"/>
              </a:ext>
            </a:extLst>
          </p:cNvPr>
          <p:cNvSpPr/>
          <p:nvPr/>
        </p:nvSpPr>
        <p:spPr bwMode="auto">
          <a:xfrm>
            <a:off x="-5685926" y="5380686"/>
            <a:ext cx="2661959" cy="14174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68927" rIns="179285" bIns="143428" numCol="1" spcCol="36576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50% of the world’s data was created in the past two years</a:t>
            </a:r>
            <a:endParaRPr kumimoji="0" lang="en-US" sz="1372" b="0" i="0" u="none" strike="noStrike" kern="1200" cap="none" spc="0" normalizeH="0" baseline="3000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ctr" defTabSz="914102" rtl="0" eaLnBrk="1" fontAlgn="base" latinLnBrk="0" hangingPunct="1">
              <a:lnSpc>
                <a:spcPct val="90000"/>
              </a:lnSpc>
              <a:spcBef>
                <a:spcPct val="0"/>
              </a:spcBef>
              <a:spcAft>
                <a:spcPts val="0"/>
              </a:spcAft>
              <a:buClrTx/>
              <a:buSzTx/>
              <a:buFontTx/>
              <a:buNone/>
              <a:tabLst/>
              <a:defRPr/>
            </a:pPr>
            <a:endParaRPr kumimoji="0" lang="en-US" sz="1372"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4" name="Title 1">
            <a:extLst>
              <a:ext uri="{FF2B5EF4-FFF2-40B4-BE49-F238E27FC236}">
                <a16:creationId xmlns:a16="http://schemas.microsoft.com/office/drawing/2014/main" id="{3B1584E0-0156-4297-BF43-90496F499320}"/>
              </a:ext>
            </a:extLst>
          </p:cNvPr>
          <p:cNvSpPr txBox="1">
            <a:spLocks/>
          </p:cNvSpPr>
          <p:nvPr/>
        </p:nvSpPr>
        <p:spPr>
          <a:xfrm>
            <a:off x="-11805165" y="4911329"/>
            <a:ext cx="3632387" cy="660764"/>
          </a:xfrm>
          <a:prstGeom prst="rect">
            <a:avLst/>
          </a:prstGeom>
        </p:spPr>
        <p:txBody>
          <a:bodyPr vert="horz" wrap="square" lIns="0" tIns="62733"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4313" b="0" i="0" u="none" strike="noStrike" kern="1200" cap="none" spc="-49" normalizeH="0" baseline="0" noProof="0">
                <a:ln w="3175">
                  <a:noFill/>
                </a:ln>
                <a:solidFill>
                  <a:srgbClr val="0078D4"/>
                </a:solidFill>
                <a:effectLst/>
                <a:uLnTx/>
                <a:uFillTx/>
                <a:latin typeface="Segoe UI Semibold"/>
                <a:ea typeface="+mn-ea"/>
                <a:cs typeface="Segoe UI" pitchFamily="34" charset="0"/>
              </a:rPr>
              <a:t>Diverse</a:t>
            </a:r>
            <a:endParaRPr kumimoji="0" lang="en-US" sz="3137" b="0" i="0" u="none" strike="noStrike" kern="1200" cap="none" spc="-49" normalizeH="0" baseline="0" noProof="0">
              <a:ln w="3175">
                <a:noFill/>
              </a:ln>
              <a:solidFill>
                <a:srgbClr val="0078D4"/>
              </a:solidFill>
              <a:effectLst/>
              <a:uLnTx/>
              <a:uFillTx/>
              <a:latin typeface="Segoe UI Semibold"/>
              <a:ea typeface="+mn-ea"/>
              <a:cs typeface="Segoe UI" pitchFamily="34" charset="0"/>
            </a:endParaRPr>
          </a:p>
        </p:txBody>
      </p:sp>
      <p:sp>
        <p:nvSpPr>
          <p:cNvPr id="15" name="Title 1">
            <a:extLst>
              <a:ext uri="{FF2B5EF4-FFF2-40B4-BE49-F238E27FC236}">
                <a16:creationId xmlns:a16="http://schemas.microsoft.com/office/drawing/2014/main" id="{4078E641-7710-4669-BCC2-3B926BAF841D}"/>
              </a:ext>
            </a:extLst>
          </p:cNvPr>
          <p:cNvSpPr txBox="1">
            <a:spLocks/>
          </p:cNvSpPr>
          <p:nvPr/>
        </p:nvSpPr>
        <p:spPr>
          <a:xfrm>
            <a:off x="-6251052" y="4900542"/>
            <a:ext cx="3792213" cy="660764"/>
          </a:xfrm>
          <a:prstGeom prst="rect">
            <a:avLst/>
          </a:prstGeom>
        </p:spPr>
        <p:txBody>
          <a:bodyPr vert="horz" wrap="square" lIns="0" tIns="62733"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02" rtl="0" eaLnBrk="1" fontAlgn="base" latinLnBrk="0" hangingPunct="1">
              <a:lnSpc>
                <a:spcPct val="90000"/>
              </a:lnSpc>
              <a:spcBef>
                <a:spcPct val="0"/>
              </a:spcBef>
              <a:spcAft>
                <a:spcPts val="0"/>
              </a:spcAft>
              <a:buClrTx/>
              <a:buSzTx/>
              <a:buFontTx/>
              <a:buNone/>
              <a:tabLst/>
              <a:defRPr/>
            </a:pPr>
            <a:r>
              <a:rPr kumimoji="0" lang="en-US" sz="4313" b="0" i="0" u="none" strike="noStrike" kern="1200" cap="none" spc="-49" normalizeH="0" baseline="0" noProof="0">
                <a:ln w="3175">
                  <a:noFill/>
                </a:ln>
                <a:solidFill>
                  <a:srgbClr val="0078D4"/>
                </a:solidFill>
                <a:effectLst/>
                <a:uLnTx/>
                <a:uFillTx/>
                <a:latin typeface="Segoe UI Semibold"/>
                <a:ea typeface="+mn-ea"/>
                <a:cs typeface="Segoe UI" pitchFamily="34" charset="0"/>
              </a:rPr>
              <a:t>Complex</a:t>
            </a:r>
            <a:endParaRPr kumimoji="0" lang="en-US" sz="3137" b="0" i="0" u="none" strike="noStrike" kern="1200" cap="none" spc="-49" normalizeH="0" baseline="0" noProof="0">
              <a:ln w="3175">
                <a:noFill/>
              </a:ln>
              <a:solidFill>
                <a:srgbClr val="0078D4"/>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95F6C8EF-D2B8-734C-A0BD-6B1777461D2C}"/>
              </a:ext>
            </a:extLst>
          </p:cNvPr>
          <p:cNvSpPr>
            <a:spLocks noGrp="1"/>
          </p:cNvSpPr>
          <p:nvPr>
            <p:ph type="title"/>
          </p:nvPr>
        </p:nvSpPr>
        <p:spPr/>
        <p:txBody>
          <a:bodyPr/>
          <a:lstStyle/>
          <a:p>
            <a:r>
              <a:rPr lang="en-US"/>
              <a:t>            </a:t>
            </a:r>
          </a:p>
        </p:txBody>
      </p:sp>
    </p:spTree>
    <p:extLst>
      <p:ext uri="{BB962C8B-B14F-4D97-AF65-F5344CB8AC3E}">
        <p14:creationId xmlns:p14="http://schemas.microsoft.com/office/powerpoint/2010/main" val="26484164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E67BE-9CE9-2A4B-9B33-EF197C8B6577}"/>
              </a:ext>
            </a:extLst>
          </p:cNvPr>
          <p:cNvSpPr>
            <a:spLocks noGrp="1"/>
          </p:cNvSpPr>
          <p:nvPr>
            <p:ph type="title"/>
          </p:nvPr>
        </p:nvSpPr>
        <p:spPr/>
        <p:txBody>
          <a:bodyPr/>
          <a:lstStyle/>
          <a:p>
            <a:r>
              <a:rPr lang="en-US"/>
              <a:t>           </a:t>
            </a:r>
          </a:p>
        </p:txBody>
      </p:sp>
      <p:sp>
        <p:nvSpPr>
          <p:cNvPr id="3" name="Rectangle 2">
            <a:extLst>
              <a:ext uri="{FF2B5EF4-FFF2-40B4-BE49-F238E27FC236}">
                <a16:creationId xmlns:a16="http://schemas.microsoft.com/office/drawing/2014/main" id="{AC15E512-FFB3-4DB8-85E6-431466C96FFE}"/>
              </a:ext>
            </a:extLst>
          </p:cNvPr>
          <p:cNvSpPr/>
          <p:nvPr/>
        </p:nvSpPr>
        <p:spPr>
          <a:xfrm>
            <a:off x="366204" y="2870398"/>
            <a:ext cx="3217112" cy="815377"/>
          </a:xfrm>
          <a:prstGeom prst="rect">
            <a:avLst/>
          </a:prstGeom>
        </p:spPr>
        <p:txBody>
          <a:bodyPr wrap="square">
            <a:spAutoFit/>
          </a:bodyPr>
          <a:lstStyle/>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2353"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Windows 7 </a:t>
            </a:r>
          </a:p>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1765" b="0" i="0" u="none" strike="noStrike" kern="1200" cap="none" spc="0" normalizeH="0" baseline="0" noProof="0">
                <a:ln>
                  <a:noFill/>
                </a:ln>
                <a:solidFill>
                  <a:srgbClr val="0078D4"/>
                </a:solidFill>
                <a:effectLst/>
                <a:uLnTx/>
                <a:uFillTx/>
                <a:latin typeface="Segoe UI"/>
                <a:ea typeface="+mn-ea"/>
                <a:cs typeface="+mn-cs"/>
              </a:rPr>
              <a:t>January 2020</a:t>
            </a:r>
          </a:p>
        </p:txBody>
      </p:sp>
      <p:sp>
        <p:nvSpPr>
          <p:cNvPr id="4" name="Rectangle 3">
            <a:extLst>
              <a:ext uri="{FF2B5EF4-FFF2-40B4-BE49-F238E27FC236}">
                <a16:creationId xmlns:a16="http://schemas.microsoft.com/office/drawing/2014/main" id="{FF071B92-C2C3-437A-A2FB-0FF7AC8C9EBF}"/>
              </a:ext>
            </a:extLst>
          </p:cNvPr>
          <p:cNvSpPr/>
          <p:nvPr/>
        </p:nvSpPr>
        <p:spPr>
          <a:xfrm>
            <a:off x="366204" y="3892051"/>
            <a:ext cx="3217112" cy="815377"/>
          </a:xfrm>
          <a:prstGeom prst="rect">
            <a:avLst/>
          </a:prstGeom>
        </p:spPr>
        <p:txBody>
          <a:bodyPr wrap="square">
            <a:spAutoFit/>
          </a:bodyPr>
          <a:lstStyle/>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2353" b="0" i="0" u="none" strike="noStrike" kern="1200" cap="none" spc="0" normalizeH="0" baseline="0" noProof="0">
                <a:ln>
                  <a:noFill/>
                </a:ln>
                <a:solidFill>
                  <a:srgbClr val="1A1A1A"/>
                </a:solidFill>
                <a:effectLst/>
                <a:uLnTx/>
                <a:uFillTx/>
                <a:latin typeface="Segoe UI Semibold"/>
                <a:ea typeface="+mn-ea"/>
                <a:cs typeface="Segoe UI" panose="020B0502040204020203" pitchFamily="34" charset="0"/>
              </a:rPr>
              <a:t>Office 2010</a:t>
            </a:r>
          </a:p>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1765" b="0" i="0" u="none" strike="noStrike" kern="1200" cap="none" spc="0" normalizeH="0" baseline="0" noProof="0">
                <a:ln>
                  <a:noFill/>
                </a:ln>
                <a:solidFill>
                  <a:srgbClr val="0078D4"/>
                </a:solidFill>
                <a:effectLst/>
                <a:uLnTx/>
                <a:uFillTx/>
                <a:latin typeface="Segoe UI"/>
                <a:ea typeface="+mn-ea"/>
                <a:cs typeface="+mn-cs"/>
              </a:rPr>
              <a:t>October 2020</a:t>
            </a:r>
          </a:p>
        </p:txBody>
      </p:sp>
      <p:sp>
        <p:nvSpPr>
          <p:cNvPr id="5" name="Rectangle 4">
            <a:extLst>
              <a:ext uri="{FF2B5EF4-FFF2-40B4-BE49-F238E27FC236}">
                <a16:creationId xmlns:a16="http://schemas.microsoft.com/office/drawing/2014/main" id="{5881A6AE-856D-40FA-93CF-B25CF459C62D}"/>
              </a:ext>
            </a:extLst>
          </p:cNvPr>
          <p:cNvSpPr/>
          <p:nvPr/>
        </p:nvSpPr>
        <p:spPr>
          <a:xfrm>
            <a:off x="366203" y="4913705"/>
            <a:ext cx="4122393" cy="1184436"/>
          </a:xfrm>
          <a:prstGeom prst="rect">
            <a:avLst/>
          </a:prstGeom>
        </p:spPr>
        <p:txBody>
          <a:bodyPr wrap="square" anchor="t">
            <a:spAutoFit/>
          </a:bodyPr>
          <a:lstStyle/>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2353"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2013 and earlier </a:t>
            </a:r>
            <a:br>
              <a:rPr kumimoji="0" lang="en-US" sz="2353"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br>
            <a:r>
              <a:rPr kumimoji="0" lang="en-US" sz="2353"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ffice 365 connectivity</a:t>
            </a:r>
          </a:p>
          <a:p>
            <a:pPr marL="0" marR="0" lvl="0" indent="0" algn="l" defTabSz="913698" rtl="0" eaLnBrk="1" fontAlgn="auto" latinLnBrk="0" hangingPunct="1">
              <a:lnSpc>
                <a:spcPct val="100000"/>
              </a:lnSpc>
              <a:spcBef>
                <a:spcPts val="0"/>
              </a:spcBef>
              <a:spcAft>
                <a:spcPts val="600"/>
              </a:spcAft>
              <a:buClrTx/>
              <a:buSzTx/>
              <a:buFontTx/>
              <a:buNone/>
              <a:tabLst/>
              <a:defRPr/>
            </a:pPr>
            <a:r>
              <a:rPr kumimoji="0" lang="en-US" sz="1765" b="0" i="0" u="none" strike="noStrike" kern="1200" cap="none" spc="0" normalizeH="0" baseline="0" noProof="0">
                <a:ln>
                  <a:noFill/>
                </a:ln>
                <a:solidFill>
                  <a:srgbClr val="0078D4"/>
                </a:solidFill>
                <a:effectLst/>
                <a:uLnTx/>
                <a:uFillTx/>
                <a:latin typeface="Segoe UI"/>
                <a:ea typeface="+mn-ea"/>
                <a:cs typeface="+mn-cs"/>
              </a:rPr>
              <a:t>October 2020</a:t>
            </a:r>
          </a:p>
        </p:txBody>
      </p:sp>
      <p:sp>
        <p:nvSpPr>
          <p:cNvPr id="6" name="Title 16">
            <a:extLst>
              <a:ext uri="{FF2B5EF4-FFF2-40B4-BE49-F238E27FC236}">
                <a16:creationId xmlns:a16="http://schemas.microsoft.com/office/drawing/2014/main" id="{CEE18CAB-D1AA-440D-8BE6-B71B02C81E0A}"/>
              </a:ext>
            </a:extLst>
          </p:cNvPr>
          <p:cNvSpPr txBox="1">
            <a:spLocks/>
          </p:cNvSpPr>
          <p:nvPr/>
        </p:nvSpPr>
        <p:spPr>
          <a:xfrm>
            <a:off x="427229" y="440919"/>
            <a:ext cx="6155315" cy="757914"/>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147" normalizeH="0" baseline="0" noProof="0">
                <a:ln w="3175">
                  <a:noFill/>
                </a:ln>
                <a:gradFill>
                  <a:gsLst>
                    <a:gs pos="2917">
                      <a:srgbClr val="282828"/>
                    </a:gs>
                    <a:gs pos="30000">
                      <a:srgbClr val="282828"/>
                    </a:gs>
                  </a:gsLst>
                  <a:lin ang="5400000" scaled="0"/>
                </a:gradFill>
                <a:effectLst/>
                <a:uLnTx/>
                <a:uFillTx/>
                <a:latin typeface="Segoe UI Semibold"/>
                <a:ea typeface="+mn-ea"/>
                <a:cs typeface="Segoe UI" pitchFamily="34" charset="0"/>
              </a:rPr>
              <a:t>End of Support is a big deal for SMB</a:t>
            </a:r>
          </a:p>
          <a:p>
            <a:pPr marL="0" marR="0" lvl="0" indent="0" algn="l" defTabSz="914367" rtl="0" eaLnBrk="1" fontAlgn="auto" latinLnBrk="0" hangingPunct="1">
              <a:lnSpc>
                <a:spcPct val="90000"/>
              </a:lnSpc>
              <a:spcBef>
                <a:spcPct val="0"/>
              </a:spcBef>
              <a:spcAft>
                <a:spcPts val="0"/>
              </a:spcAft>
              <a:buClrTx/>
              <a:buSzTx/>
              <a:buFontTx/>
              <a:buNone/>
              <a:tabLst/>
              <a:defRPr/>
            </a:pPr>
            <a:r>
              <a:rPr lang="en-US" sz="2800" b="1">
                <a:gradFill>
                  <a:gsLst>
                    <a:gs pos="2917">
                      <a:srgbClr val="282828"/>
                    </a:gs>
                    <a:gs pos="30000">
                      <a:srgbClr val="282828"/>
                    </a:gs>
                  </a:gsLst>
                  <a:lin ang="5400000" scaled="0"/>
                </a:gradFill>
                <a:latin typeface="Segoe UI Semibold"/>
              </a:rPr>
              <a:t>and poses significant security risk</a:t>
            </a:r>
            <a:r>
              <a:rPr kumimoji="0" lang="en-US" sz="2800" b="1" i="0" u="none" strike="noStrike" kern="1200" cap="none" spc="-147" normalizeH="0" baseline="0" noProof="0">
                <a:ln w="3175">
                  <a:noFill/>
                </a:ln>
                <a:solidFill>
                  <a:srgbClr val="0078D4"/>
                </a:solidFill>
                <a:effectLst/>
                <a:uLnTx/>
                <a:uFillTx/>
                <a:latin typeface="Segoe UI Semibold"/>
                <a:ea typeface="+mn-ea"/>
                <a:cs typeface="Segoe UI" pitchFamily="34" charset="0"/>
              </a:rPr>
              <a:t> </a:t>
            </a:r>
            <a:endParaRPr kumimoji="0" lang="en-US" sz="2800" b="1" i="0" u="none" strike="noStrike" kern="1200" cap="none" spc="-147" normalizeH="0" baseline="0" noProof="0">
              <a:ln w="3175">
                <a:noFill/>
              </a:ln>
              <a:gradFill>
                <a:gsLst>
                  <a:gs pos="2917">
                    <a:srgbClr val="282828"/>
                  </a:gs>
                  <a:gs pos="30000">
                    <a:srgbClr val="282828"/>
                  </a:gs>
                </a:gsLst>
                <a:lin ang="5400000" scaled="0"/>
              </a:gradFill>
              <a:effectLst/>
              <a:uLnTx/>
              <a:uFillTx/>
              <a:latin typeface="Segoe UI Semibold"/>
              <a:ea typeface="+mn-ea"/>
              <a:cs typeface="Segoe UI" pitchFamily="34" charset="0"/>
            </a:endParaRPr>
          </a:p>
        </p:txBody>
      </p:sp>
      <p:sp>
        <p:nvSpPr>
          <p:cNvPr id="7" name="Rectangle 6">
            <a:extLst>
              <a:ext uri="{FF2B5EF4-FFF2-40B4-BE49-F238E27FC236}">
                <a16:creationId xmlns:a16="http://schemas.microsoft.com/office/drawing/2014/main" id="{DA594F92-911B-423E-A0C8-2EE9D14E3CCE}"/>
              </a:ext>
            </a:extLst>
          </p:cNvPr>
          <p:cNvSpPr/>
          <p:nvPr/>
        </p:nvSpPr>
        <p:spPr>
          <a:xfrm>
            <a:off x="428034" y="1663672"/>
            <a:ext cx="4804461" cy="995697"/>
          </a:xfrm>
          <a:prstGeom prst="rect">
            <a:avLst/>
          </a:prstGeom>
        </p:spPr>
        <p:txBody>
          <a:bodyPr wrap="square" lIns="0">
            <a:spAutoFit/>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0000"/>
                </a:solidFill>
                <a:effectLst/>
                <a:uLnTx/>
                <a:uFillTx/>
                <a:latin typeface="Segoe UI"/>
                <a:ea typeface="+mn-ea"/>
                <a:cs typeface="+mn-cs"/>
              </a:rPr>
              <a:t>Deadlines offer a compelling moment to help SMBs continue to modernize the way they work</a:t>
            </a:r>
          </a:p>
        </p:txBody>
      </p:sp>
      <p:pic>
        <p:nvPicPr>
          <p:cNvPr id="8" name="Picture Placeholder 7" descr="A tall building in a city&#10;">
            <a:extLst>
              <a:ext uri="{FF2B5EF4-FFF2-40B4-BE49-F238E27FC236}">
                <a16:creationId xmlns:a16="http://schemas.microsoft.com/office/drawing/2014/main" id="{2AED32EF-6A0D-4513-961A-FC5C0BFB74E7}"/>
              </a:ext>
            </a:extLst>
          </p:cNvPr>
          <p:cNvPicPr>
            <a:picLocks noChangeAspect="1"/>
          </p:cNvPicPr>
          <p:nvPr/>
        </p:nvPicPr>
        <p:blipFill rotWithShape="1">
          <a:blip r:embed="rId3" cstate="print">
            <a:duotone>
              <a:schemeClr val="bg2">
                <a:shade val="45000"/>
                <a:satMod val="135000"/>
              </a:schemeClr>
              <a:prstClr val="white"/>
            </a:duotone>
            <a:alphaModFix amt="44000"/>
            <a:extLst>
              <a:ext uri="{28A0092B-C50C-407E-A947-70E740481C1C}">
                <a14:useLocalDpi xmlns:a14="http://schemas.microsoft.com/office/drawing/2010/main" val="0"/>
              </a:ext>
            </a:extLst>
          </a:blip>
          <a:srcRect l="25701" t="1" r="7722" b="134"/>
          <a:stretch/>
        </p:blipFill>
        <p:spPr bwMode="gray">
          <a:xfrm>
            <a:off x="6209579" y="1460"/>
            <a:ext cx="5980694" cy="4707759"/>
          </a:xfrm>
          <a:prstGeom prst="rect">
            <a:avLst/>
          </a:prstGeom>
          <a:blipFill>
            <a:blip r:embed="rId4">
              <a:duotone>
                <a:schemeClr val="bg2">
                  <a:shade val="45000"/>
                  <a:satMod val="135000"/>
                </a:schemeClr>
                <a:prstClr val="white"/>
              </a:duotone>
              <a:alphaModFix amt="44000"/>
            </a:blip>
            <a:stretch>
              <a:fillRect/>
            </a:stretch>
          </a:blipFill>
          <a:effectLst/>
        </p:spPr>
      </p:pic>
      <p:sp>
        <p:nvSpPr>
          <p:cNvPr id="9" name="Rectangle 8">
            <a:extLst>
              <a:ext uri="{FF2B5EF4-FFF2-40B4-BE49-F238E27FC236}">
                <a16:creationId xmlns:a16="http://schemas.microsoft.com/office/drawing/2014/main" id="{52EB4421-FA01-4298-8D2F-9AEFED560A55}"/>
              </a:ext>
              <a:ext uri="{C183D7F6-B498-43B3-948B-1728B52AA6E4}">
                <adec:decorative xmlns:adec="http://schemas.microsoft.com/office/drawing/2017/decorative" val="1"/>
              </a:ext>
            </a:extLst>
          </p:cNvPr>
          <p:cNvSpPr/>
          <p:nvPr/>
        </p:nvSpPr>
        <p:spPr bwMode="auto">
          <a:xfrm>
            <a:off x="6209579" y="4709218"/>
            <a:ext cx="5980694" cy="2147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E52A872D-B796-44FB-9402-12E437053974}"/>
              </a:ext>
            </a:extLst>
          </p:cNvPr>
          <p:cNvSpPr txBox="1"/>
          <p:nvPr/>
        </p:nvSpPr>
        <p:spPr>
          <a:xfrm>
            <a:off x="7629339" y="1791322"/>
            <a:ext cx="3708857" cy="1950564"/>
          </a:xfrm>
          <a:prstGeom prst="rect">
            <a:avLst/>
          </a:prstGeom>
          <a:noFill/>
        </p:spPr>
        <p:txBody>
          <a:bodyPr wrap="square" lIns="179208" tIns="143366" rIns="179208" bIns="143366" rtlCol="0">
            <a:spAutoFit/>
          </a:bodyPr>
          <a:lstStyle/>
          <a:p>
            <a:pPr marL="0" marR="0" lvl="0" indent="0" algn="l" defTabSz="913963" rtl="0" eaLnBrk="1" fontAlgn="auto" latinLnBrk="0" hangingPunct="1">
              <a:lnSpc>
                <a:spcPct val="90000"/>
              </a:lnSpc>
              <a:spcBef>
                <a:spcPts val="0"/>
              </a:spcBef>
              <a:spcAft>
                <a:spcPts val="588"/>
              </a:spcAft>
              <a:buClrTx/>
              <a:buSzTx/>
              <a:buFontTx/>
              <a:buNone/>
              <a:tabLst/>
              <a:defRPr/>
            </a:pPr>
            <a:r>
              <a:rPr kumimoji="0" lang="en-US" sz="11758" b="1" i="0" u="none" strike="noStrike" kern="1200" cap="none" spc="0" normalizeH="0" baseline="0" noProof="0">
                <a:ln>
                  <a:noFill/>
                </a:ln>
                <a:solidFill>
                  <a:srgbClr val="0078D4"/>
                </a:solidFill>
                <a:effectLst/>
                <a:uLnTx/>
                <a:uFillTx/>
                <a:latin typeface="Segoe UI" panose="020B0502040204020203" pitchFamily="34" charset="0"/>
                <a:ea typeface="Segoe UI Black" panose="020B0A02040204020203" pitchFamily="34" charset="0"/>
                <a:cs typeface="Segoe UI" panose="020B0502040204020203" pitchFamily="34" charset="0"/>
              </a:rPr>
              <a:t>69%</a:t>
            </a:r>
          </a:p>
        </p:txBody>
      </p:sp>
      <p:sp>
        <p:nvSpPr>
          <p:cNvPr id="11" name="Rectangle 10">
            <a:extLst>
              <a:ext uri="{FF2B5EF4-FFF2-40B4-BE49-F238E27FC236}">
                <a16:creationId xmlns:a16="http://schemas.microsoft.com/office/drawing/2014/main" id="{E79CEF2D-0942-4AA1-97CF-B21B2E2D3833}"/>
              </a:ext>
            </a:extLst>
          </p:cNvPr>
          <p:cNvSpPr/>
          <p:nvPr/>
        </p:nvSpPr>
        <p:spPr>
          <a:xfrm>
            <a:off x="7743758" y="3338437"/>
            <a:ext cx="3708857" cy="1107682"/>
          </a:xfrm>
          <a:prstGeom prst="rect">
            <a:avLst/>
          </a:prstGeom>
        </p:spPr>
        <p:txBody>
          <a:bodyPr wrap="square">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of SMBs are not aware or only slightly aware of the end of support dates.</a:t>
            </a:r>
          </a:p>
        </p:txBody>
      </p:sp>
      <p:sp>
        <p:nvSpPr>
          <p:cNvPr id="12" name="TextBox 11">
            <a:extLst>
              <a:ext uri="{FF2B5EF4-FFF2-40B4-BE49-F238E27FC236}">
                <a16:creationId xmlns:a16="http://schemas.microsoft.com/office/drawing/2014/main" id="{466B8569-AF68-4705-8780-7D9D9F8C87DB}"/>
              </a:ext>
            </a:extLst>
          </p:cNvPr>
          <p:cNvSpPr txBox="1"/>
          <p:nvPr/>
        </p:nvSpPr>
        <p:spPr>
          <a:xfrm flipH="1">
            <a:off x="6321610" y="5318471"/>
            <a:ext cx="3078810" cy="1126102"/>
          </a:xfrm>
          <a:prstGeom prst="rect">
            <a:avLst/>
          </a:prstGeom>
          <a:noFill/>
        </p:spPr>
        <p:txBody>
          <a:bodyPr wrap="square" lIns="182802" tIns="146243" rIns="182802" bIns="146243" rtlCol="0">
            <a:spAutoFit/>
          </a:bodyPr>
          <a:lstStyle/>
          <a:p>
            <a:pPr marL="0" marR="0" lvl="0" indent="0" algn="l" defTabSz="913963" rtl="0" eaLnBrk="1" fontAlgn="auto" latinLnBrk="0" hangingPunct="1">
              <a:lnSpc>
                <a:spcPct val="100000"/>
              </a:lnSpc>
              <a:spcBef>
                <a:spcPts val="0"/>
              </a:spcBef>
              <a:spcAft>
                <a:spcPts val="600"/>
              </a:spcAft>
              <a:buClrTx/>
              <a:buSzTx/>
              <a:buFontTx/>
              <a:buNone/>
              <a:tabLst/>
              <a:defRPr/>
            </a:pPr>
            <a:r>
              <a:rPr kumimoji="0" lang="en-US" sz="1765" b="0" i="0" u="none" strike="noStrike" kern="1200" cap="none" spc="0" normalizeH="0" baseline="0" noProof="0">
                <a:ln>
                  <a:noFill/>
                </a:ln>
                <a:solidFill>
                  <a:schemeClr val="bg1"/>
                </a:solidFill>
                <a:effectLst/>
                <a:uLnTx/>
                <a:uFillTx/>
                <a:latin typeface="+mj-lt"/>
                <a:ea typeface="+mn-ea"/>
                <a:cs typeface="+mn-cs"/>
              </a:rPr>
              <a:t>Help customers avoid security risks caused by unsupported solutions</a:t>
            </a:r>
          </a:p>
        </p:txBody>
      </p:sp>
      <p:sp>
        <p:nvSpPr>
          <p:cNvPr id="13" name="TextBox 12">
            <a:extLst>
              <a:ext uri="{FF2B5EF4-FFF2-40B4-BE49-F238E27FC236}">
                <a16:creationId xmlns:a16="http://schemas.microsoft.com/office/drawing/2014/main" id="{2E0B75B4-596A-4D5A-9838-105176E0CD14}"/>
              </a:ext>
            </a:extLst>
          </p:cNvPr>
          <p:cNvSpPr txBox="1"/>
          <p:nvPr/>
        </p:nvSpPr>
        <p:spPr>
          <a:xfrm flipH="1">
            <a:off x="9686611" y="5318471"/>
            <a:ext cx="2416168" cy="1110181"/>
          </a:xfrm>
          <a:prstGeom prst="rect">
            <a:avLst/>
          </a:prstGeom>
          <a:noFill/>
        </p:spPr>
        <p:txBody>
          <a:bodyPr wrap="square" lIns="182802" tIns="146243" rIns="182802" bIns="146243" rtlCol="0">
            <a:spAutoFit/>
          </a:bodyPr>
          <a:lstStyle/>
          <a:p>
            <a:pPr marL="0" marR="0" lvl="0" indent="0" algn="l" defTabSz="913963" rtl="0" eaLnBrk="1" fontAlgn="auto" latinLnBrk="0" hangingPunct="1">
              <a:lnSpc>
                <a:spcPct val="100000"/>
              </a:lnSpc>
              <a:spcBef>
                <a:spcPts val="0"/>
              </a:spcBef>
              <a:spcAft>
                <a:spcPts val="600"/>
              </a:spcAft>
              <a:buClrTx/>
              <a:buSzTx/>
              <a:buFontTx/>
              <a:buNone/>
              <a:tabLst/>
              <a:defRPr/>
            </a:pPr>
            <a:r>
              <a:rPr kumimoji="0" lang="en-US" sz="1765" b="0" i="0" u="none" strike="noStrike" kern="1200" cap="none" spc="0" normalizeH="0" baseline="0" noProof="0">
                <a:ln>
                  <a:noFill/>
                </a:ln>
                <a:solidFill>
                  <a:schemeClr val="bg1"/>
                </a:solidFill>
                <a:effectLst/>
                <a:uLnTx/>
                <a:uFillTx/>
                <a:latin typeface="+mj-lt"/>
                <a:ea typeface="+mn-ea"/>
                <a:cs typeface="+mn-cs"/>
              </a:rPr>
              <a:t>Start early to retain customers that are ripe for change</a:t>
            </a:r>
          </a:p>
        </p:txBody>
      </p:sp>
      <p:sp>
        <p:nvSpPr>
          <p:cNvPr id="14" name="Rectangle 13">
            <a:extLst>
              <a:ext uri="{FF2B5EF4-FFF2-40B4-BE49-F238E27FC236}">
                <a16:creationId xmlns:a16="http://schemas.microsoft.com/office/drawing/2014/main" id="{09586EAA-FFA5-4539-8F8A-41B8CD687162}"/>
              </a:ext>
            </a:extLst>
          </p:cNvPr>
          <p:cNvSpPr/>
          <p:nvPr/>
        </p:nvSpPr>
        <p:spPr>
          <a:xfrm>
            <a:off x="6424292" y="6507674"/>
            <a:ext cx="2667718" cy="333681"/>
          </a:xfrm>
          <a:prstGeom prst="rect">
            <a:avLst/>
          </a:prstGeom>
        </p:spPr>
        <p:txBody>
          <a:bodyPr wrap="none" anchor="t">
            <a:spAutoFit/>
          </a:bodyPr>
          <a:lstStyle/>
          <a:p>
            <a:pPr marL="0" marR="0" lvl="0" indent="0" algn="l" defTabSz="913963"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a:ea typeface="+mn-ea"/>
                <a:cs typeface="Segoe UI"/>
              </a:rPr>
              <a:t>Source: </a:t>
            </a:r>
            <a:r>
              <a:rPr kumimoji="0" lang="en-US" sz="784" b="0" i="0" u="none" strike="noStrike" kern="1200" cap="none" spc="0" normalizeH="0" baseline="0" noProof="0" err="1">
                <a:ln>
                  <a:noFill/>
                </a:ln>
                <a:solidFill>
                  <a:srgbClr val="FFFFFF"/>
                </a:solidFill>
                <a:effectLst/>
                <a:uLnTx/>
                <a:uFillTx/>
                <a:latin typeface="Segoe UI"/>
                <a:ea typeface="+mn-ea"/>
                <a:cs typeface="Segoe UI"/>
              </a:rPr>
              <a:t>TechAisle</a:t>
            </a:r>
            <a:r>
              <a:rPr kumimoji="0" lang="en-US" sz="784" b="0" i="0" u="none" strike="noStrike" kern="1200" cap="none" spc="0" normalizeH="0" baseline="0" noProof="0">
                <a:ln>
                  <a:noFill/>
                </a:ln>
                <a:solidFill>
                  <a:srgbClr val="FFFFFF"/>
                </a:solidFill>
                <a:effectLst/>
                <a:uLnTx/>
                <a:uFillTx/>
                <a:latin typeface="Segoe UI"/>
                <a:ea typeface="+mn-ea"/>
                <a:cs typeface="Segoe UI"/>
              </a:rPr>
              <a:t> SMB PC Study for Microsoft, July 2018</a:t>
            </a:r>
          </a:p>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solidFill>
                <a:srgbClr val="FFFFFF"/>
              </a:solidFill>
              <a:effectLst/>
              <a:uLnTx/>
              <a:uFillTx/>
              <a:latin typeface="Segoe UI"/>
              <a:ea typeface="+mn-ea"/>
              <a:cs typeface="Segoe UI"/>
            </a:endParaRPr>
          </a:p>
        </p:txBody>
      </p:sp>
    </p:spTree>
    <p:extLst>
      <p:ext uri="{BB962C8B-B14F-4D97-AF65-F5344CB8AC3E}">
        <p14:creationId xmlns:p14="http://schemas.microsoft.com/office/powerpoint/2010/main" val="2691996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5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3"/>
          <p:cNvPicPr>
            <a:picLocks noChangeAspect="1"/>
          </p:cNvPicPr>
          <p:nvPr/>
        </p:nvPicPr>
        <p:blipFill rotWithShape="1">
          <a:blip r:embed="rId3">
            <a:extLst>
              <a:ext uri="{28A0092B-C50C-407E-A947-70E740481C1C}">
                <a14:useLocalDpi xmlns:a14="http://schemas.microsoft.com/office/drawing/2010/main" val="0"/>
              </a:ext>
            </a:extLst>
          </a:blip>
          <a:srcRect t="7817" b="9378"/>
          <a:stretch/>
        </p:blipFill>
        <p:spPr>
          <a:xfrm>
            <a:off x="866" y="487"/>
            <a:ext cx="12434711" cy="6864283"/>
          </a:xfrm>
          <a:prstGeom prst="rect">
            <a:avLst/>
          </a:prstGeom>
        </p:spPr>
      </p:pic>
      <p:sp>
        <p:nvSpPr>
          <p:cNvPr id="8" name="Rectangle 7"/>
          <p:cNvSpPr/>
          <p:nvPr/>
        </p:nvSpPr>
        <p:spPr bwMode="ltGray">
          <a:xfrm>
            <a:off x="275746" y="291670"/>
            <a:ext cx="5820254" cy="638687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a:xfrm>
            <a:off x="275747" y="515620"/>
            <a:ext cx="5820253" cy="784372"/>
          </a:xfrm>
        </p:spPr>
        <p:txBody>
          <a:bodyPr/>
          <a:lstStyle/>
          <a:p>
            <a:r>
              <a:rPr lang="en-US" sz="5294" dirty="0">
                <a:solidFill>
                  <a:schemeClr val="accent1">
                    <a:lumMod val="75000"/>
                  </a:schemeClr>
                </a:solidFill>
              </a:rPr>
              <a:t>Today’s challenges</a:t>
            </a:r>
          </a:p>
        </p:txBody>
      </p:sp>
      <p:sp>
        <p:nvSpPr>
          <p:cNvPr id="96" name="TextBox 95"/>
          <p:cNvSpPr txBox="1"/>
          <p:nvPr/>
        </p:nvSpPr>
        <p:spPr>
          <a:xfrm>
            <a:off x="275747" y="1367302"/>
            <a:ext cx="5820253" cy="3713035"/>
          </a:xfrm>
          <a:prstGeom prst="rect">
            <a:avLst/>
          </a:prstGeom>
          <a:noFill/>
        </p:spPr>
        <p:txBody>
          <a:bodyPr wrap="square" lIns="91427" tIns="45713" rIns="91427" bIns="45713" rtlCol="0">
            <a:spAutoFit/>
          </a:bodyPr>
          <a:lstStyle/>
          <a:p>
            <a:pPr marL="342768"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Deliver applications to mobile platforms (BYOD)</a:t>
            </a:r>
          </a:p>
          <a:p>
            <a:pPr marL="342768"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Respond to dynamic business requirements for IT:</a:t>
            </a:r>
          </a:p>
          <a:p>
            <a:pPr marL="799792" lvl="1"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Seasonal/temporary workers</a:t>
            </a:r>
          </a:p>
          <a:p>
            <a:pPr marL="799792" lvl="1"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Vendors</a:t>
            </a:r>
          </a:p>
          <a:p>
            <a:pPr marL="799792" lvl="1"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New employees (mergers and acquisitions)</a:t>
            </a:r>
          </a:p>
          <a:p>
            <a:pPr marL="342681"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Reduce infrastructure costs (move CAPEX to OPEX)</a:t>
            </a:r>
          </a:p>
          <a:p>
            <a:pPr marL="342768"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Provide access to legacy applications</a:t>
            </a:r>
          </a:p>
          <a:p>
            <a:pPr marL="342768" indent="-342768" defTabSz="914192">
              <a:lnSpc>
                <a:spcPct val="150000"/>
              </a:lnSpc>
              <a:buFont typeface="Arial" panose="020B0604020202020204" pitchFamily="34" charset="0"/>
              <a:buChar char="•"/>
            </a:pPr>
            <a:r>
              <a:rPr lang="en-US" sz="1961" spc="-50" dirty="0">
                <a:solidFill>
                  <a:srgbClr val="505050"/>
                </a:solidFill>
                <a:latin typeface="Segoe UI Semilight" panose="020B0402040204020203" pitchFamily="34" charset="0"/>
                <a:cs typeface="Segoe UI Semilight" panose="020B0402040204020203" pitchFamily="34" charset="0"/>
              </a:rPr>
              <a:t>Protect corporate resources and ensure compliance</a:t>
            </a:r>
          </a:p>
        </p:txBody>
      </p:sp>
    </p:spTree>
    <p:extLst>
      <p:ext uri="{BB962C8B-B14F-4D97-AF65-F5344CB8AC3E}">
        <p14:creationId xmlns:p14="http://schemas.microsoft.com/office/powerpoint/2010/main" val="941453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Picture 117"/>
          <p:cNvPicPr>
            <a:picLocks noChangeAspect="1"/>
          </p:cNvPicPr>
          <p:nvPr/>
        </p:nvPicPr>
        <p:blipFill rotWithShape="1">
          <a:blip r:embed="rId3">
            <a:extLst>
              <a:ext uri="{28A0092B-C50C-407E-A947-70E740481C1C}">
                <a14:useLocalDpi xmlns:a14="http://schemas.microsoft.com/office/drawing/2010/main" val="0"/>
              </a:ext>
            </a:extLst>
          </a:blip>
          <a:srcRect t="33394" b="6406"/>
          <a:stretch/>
        </p:blipFill>
        <p:spPr>
          <a:xfrm flipH="1">
            <a:off x="-30328" y="1192895"/>
            <a:ext cx="12218971" cy="4798473"/>
          </a:xfrm>
          <a:prstGeom prst="rect">
            <a:avLst/>
          </a:prstGeom>
        </p:spPr>
      </p:pic>
      <p:sp>
        <p:nvSpPr>
          <p:cNvPr id="9" name="Title 1"/>
          <p:cNvSpPr>
            <a:spLocks noGrp="1"/>
          </p:cNvSpPr>
          <p:nvPr>
            <p:ph type="title"/>
          </p:nvPr>
        </p:nvSpPr>
        <p:spPr/>
        <p:txBody>
          <a:bodyPr/>
          <a:lstStyle/>
          <a:p>
            <a:pPr>
              <a:defRPr/>
            </a:pPr>
            <a:r>
              <a:rPr lang="en-US" sz="4800" dirty="0">
                <a:solidFill>
                  <a:schemeClr val="tx1">
                    <a:lumMod val="75000"/>
                    <a:lumOff val="25000"/>
                  </a:schemeClr>
                </a:solidFill>
              </a:rPr>
              <a:t>Azure RemoteApp 2014/2015</a:t>
            </a:r>
          </a:p>
        </p:txBody>
      </p:sp>
      <p:sp>
        <p:nvSpPr>
          <p:cNvPr id="3" name="Rectangle 2"/>
          <p:cNvSpPr/>
          <p:nvPr/>
        </p:nvSpPr>
        <p:spPr bwMode="auto">
          <a:xfrm>
            <a:off x="-29570" y="1192895"/>
            <a:ext cx="3082295" cy="4802610"/>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14049">
              <a:lnSpc>
                <a:spcPts val="2800"/>
              </a:lnSpc>
            </a:pPr>
            <a:r>
              <a:rPr lang="en-US" dirty="0">
                <a:solidFill>
                  <a:srgbClr val="000000"/>
                </a:solidFill>
                <a:latin typeface="Segoe UI"/>
                <a:cs typeface="Calibri" panose="020F0502020204030204" pitchFamily="34" charset="0"/>
              </a:rPr>
              <a:t>Azure </a:t>
            </a:r>
            <a:r>
              <a:rPr lang="en-US" dirty="0" err="1">
                <a:solidFill>
                  <a:srgbClr val="000000"/>
                </a:solidFill>
                <a:latin typeface="Segoe UI"/>
                <a:cs typeface="Calibri" panose="020F0502020204030204" pitchFamily="34" charset="0"/>
              </a:rPr>
              <a:t>RemoteApp</a:t>
            </a:r>
            <a:endParaRPr lang="en-US" dirty="0">
              <a:solidFill>
                <a:srgbClr val="000000"/>
              </a:solidFill>
              <a:latin typeface="Segoe UI"/>
              <a:cs typeface="Calibri" panose="020F0502020204030204" pitchFamily="34" charset="0"/>
            </a:endParaRPr>
          </a:p>
          <a:p>
            <a:pPr defTabSz="914049">
              <a:lnSpc>
                <a:spcPts val="2800"/>
              </a:lnSpc>
            </a:pPr>
            <a:r>
              <a:rPr lang="en-US" dirty="0">
                <a:solidFill>
                  <a:srgbClr val="000000"/>
                </a:solidFill>
                <a:latin typeface="Segoe UI"/>
                <a:cs typeface="Calibri" panose="020F0502020204030204" pitchFamily="34" charset="0"/>
              </a:rPr>
              <a:t>combines </a:t>
            </a:r>
            <a:r>
              <a:rPr lang="en-US" b="1" dirty="0">
                <a:solidFill>
                  <a:srgbClr val="000000"/>
                </a:solidFill>
                <a:latin typeface="Segoe UI"/>
                <a:cs typeface="Calibri" panose="020F0502020204030204" pitchFamily="34" charset="0"/>
              </a:rPr>
              <a:t>Windows application</a:t>
            </a:r>
            <a:r>
              <a:rPr lang="en-US" dirty="0">
                <a:solidFill>
                  <a:srgbClr val="000000"/>
                </a:solidFill>
                <a:latin typeface="Segoe UI"/>
                <a:cs typeface="Calibri" panose="020F0502020204030204" pitchFamily="34" charset="0"/>
              </a:rPr>
              <a:t> experience and </a:t>
            </a:r>
            <a:r>
              <a:rPr lang="en-US" b="1" dirty="0">
                <a:solidFill>
                  <a:srgbClr val="000000"/>
                </a:solidFill>
                <a:latin typeface="Segoe UI"/>
                <a:cs typeface="Calibri" panose="020F0502020204030204" pitchFamily="34" charset="0"/>
              </a:rPr>
              <a:t>powerful RDS capabilities </a:t>
            </a:r>
          </a:p>
          <a:p>
            <a:pPr defTabSz="914049">
              <a:lnSpc>
                <a:spcPts val="2800"/>
              </a:lnSpc>
            </a:pPr>
            <a:r>
              <a:rPr lang="en-US" dirty="0">
                <a:solidFill>
                  <a:srgbClr val="000000"/>
                </a:solidFill>
                <a:latin typeface="Segoe UI"/>
                <a:cs typeface="Calibri" panose="020F0502020204030204" pitchFamily="34" charset="0"/>
              </a:rPr>
              <a:t>on </a:t>
            </a:r>
            <a:r>
              <a:rPr lang="en-US" b="1" dirty="0">
                <a:solidFill>
                  <a:srgbClr val="000000"/>
                </a:solidFill>
                <a:latin typeface="Segoe UI"/>
                <a:cs typeface="Calibri" panose="020F0502020204030204" pitchFamily="34" charset="0"/>
              </a:rPr>
              <a:t>Azure’s reliable platform</a:t>
            </a:r>
            <a:r>
              <a:rPr lang="en-US" dirty="0">
                <a:solidFill>
                  <a:srgbClr val="000000"/>
                </a:solidFill>
                <a:latin typeface="Segoe UI"/>
                <a:cs typeface="Calibri" panose="020F0502020204030204" pitchFamily="34" charset="0"/>
              </a:rPr>
              <a:t> and helps IT to bring, scale, agility and global access to corporate applications.</a:t>
            </a:r>
          </a:p>
        </p:txBody>
      </p:sp>
      <p:grpSp>
        <p:nvGrpSpPr>
          <p:cNvPr id="76" name="Group 75"/>
          <p:cNvGrpSpPr>
            <a:grpSpLocks noChangeAspect="1"/>
          </p:cNvGrpSpPr>
          <p:nvPr/>
        </p:nvGrpSpPr>
        <p:grpSpPr>
          <a:xfrm>
            <a:off x="4961634" y="6043573"/>
            <a:ext cx="732527" cy="777765"/>
            <a:chOff x="1122363" y="2252663"/>
            <a:chExt cx="1465262" cy="1555750"/>
          </a:xfrm>
          <a:solidFill>
            <a:schemeClr val="tx1"/>
          </a:solidFill>
        </p:grpSpPr>
        <p:sp>
          <p:nvSpPr>
            <p:cNvPr id="79" name="Freeform 78"/>
            <p:cNvSpPr>
              <a:spLocks noEditPoints="1"/>
            </p:cNvSpPr>
            <p:nvPr/>
          </p:nvSpPr>
          <p:spPr bwMode="auto">
            <a:xfrm>
              <a:off x="1509713" y="2538413"/>
              <a:ext cx="82550" cy="184150"/>
            </a:xfrm>
            <a:custGeom>
              <a:avLst/>
              <a:gdLst>
                <a:gd name="T0" fmla="*/ 7 w 18"/>
                <a:gd name="T1" fmla="*/ 21 h 40"/>
                <a:gd name="T2" fmla="*/ 7 w 18"/>
                <a:gd name="T3" fmla="*/ 33 h 40"/>
                <a:gd name="T4" fmla="*/ 3 w 18"/>
                <a:gd name="T5" fmla="*/ 32 h 40"/>
                <a:gd name="T6" fmla="*/ 0 w 18"/>
                <a:gd name="T7" fmla="*/ 30 h 40"/>
                <a:gd name="T8" fmla="*/ 0 w 18"/>
                <a:gd name="T9" fmla="*/ 34 h 40"/>
                <a:gd name="T10" fmla="*/ 3 w 18"/>
                <a:gd name="T11" fmla="*/ 35 h 40"/>
                <a:gd name="T12" fmla="*/ 7 w 18"/>
                <a:gd name="T13" fmla="*/ 36 h 40"/>
                <a:gd name="T14" fmla="*/ 7 w 18"/>
                <a:gd name="T15" fmla="*/ 40 h 40"/>
                <a:gd name="T16" fmla="*/ 10 w 18"/>
                <a:gd name="T17" fmla="*/ 40 h 40"/>
                <a:gd name="T18" fmla="*/ 10 w 18"/>
                <a:gd name="T19" fmla="*/ 35 h 40"/>
                <a:gd name="T20" fmla="*/ 15 w 18"/>
                <a:gd name="T21" fmla="*/ 33 h 40"/>
                <a:gd name="T22" fmla="*/ 18 w 18"/>
                <a:gd name="T23" fmla="*/ 27 h 40"/>
                <a:gd name="T24" fmla="*/ 17 w 18"/>
                <a:gd name="T25" fmla="*/ 24 h 40"/>
                <a:gd name="T26" fmla="*/ 14 w 18"/>
                <a:gd name="T27" fmla="*/ 21 h 40"/>
                <a:gd name="T28" fmla="*/ 10 w 18"/>
                <a:gd name="T29" fmla="*/ 19 h 40"/>
                <a:gd name="T30" fmla="*/ 10 w 18"/>
                <a:gd name="T31" fmla="*/ 7 h 40"/>
                <a:gd name="T32" fmla="*/ 16 w 18"/>
                <a:gd name="T33" fmla="*/ 9 h 40"/>
                <a:gd name="T34" fmla="*/ 16 w 18"/>
                <a:gd name="T35" fmla="*/ 5 h 40"/>
                <a:gd name="T36" fmla="*/ 10 w 18"/>
                <a:gd name="T37" fmla="*/ 4 h 40"/>
                <a:gd name="T38" fmla="*/ 10 w 18"/>
                <a:gd name="T39" fmla="*/ 0 h 40"/>
                <a:gd name="T40" fmla="*/ 7 w 18"/>
                <a:gd name="T41" fmla="*/ 0 h 40"/>
                <a:gd name="T42" fmla="*/ 7 w 18"/>
                <a:gd name="T43" fmla="*/ 4 h 40"/>
                <a:gd name="T44" fmla="*/ 2 w 18"/>
                <a:gd name="T45" fmla="*/ 7 h 40"/>
                <a:gd name="T46" fmla="*/ 0 w 18"/>
                <a:gd name="T47" fmla="*/ 12 h 40"/>
                <a:gd name="T48" fmla="*/ 1 w 18"/>
                <a:gd name="T49" fmla="*/ 17 h 40"/>
                <a:gd name="T50" fmla="*/ 7 w 18"/>
                <a:gd name="T51" fmla="*/ 21 h 40"/>
                <a:gd name="T52" fmla="*/ 10 w 18"/>
                <a:gd name="T53" fmla="*/ 22 h 40"/>
                <a:gd name="T54" fmla="*/ 14 w 18"/>
                <a:gd name="T55" fmla="*/ 28 h 40"/>
                <a:gd name="T56" fmla="*/ 10 w 18"/>
                <a:gd name="T57" fmla="*/ 32 h 40"/>
                <a:gd name="T58" fmla="*/ 10 w 18"/>
                <a:gd name="T59" fmla="*/ 22 h 40"/>
                <a:gd name="T60" fmla="*/ 4 w 18"/>
                <a:gd name="T61" fmla="*/ 9 h 40"/>
                <a:gd name="T62" fmla="*/ 7 w 18"/>
                <a:gd name="T63" fmla="*/ 7 h 40"/>
                <a:gd name="T64" fmla="*/ 7 w 18"/>
                <a:gd name="T65" fmla="*/ 17 h 40"/>
                <a:gd name="T66" fmla="*/ 4 w 18"/>
                <a:gd name="T67" fmla="*/ 15 h 40"/>
                <a:gd name="T68" fmla="*/ 3 w 18"/>
                <a:gd name="T69" fmla="*/ 12 h 40"/>
                <a:gd name="T70" fmla="*/ 4 w 18"/>
                <a:gd name="T71"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40">
                  <a:moveTo>
                    <a:pt x="7" y="21"/>
                  </a:moveTo>
                  <a:cubicBezTo>
                    <a:pt x="7" y="33"/>
                    <a:pt x="7" y="33"/>
                    <a:pt x="7" y="33"/>
                  </a:cubicBezTo>
                  <a:cubicBezTo>
                    <a:pt x="6" y="33"/>
                    <a:pt x="5" y="32"/>
                    <a:pt x="3" y="32"/>
                  </a:cubicBezTo>
                  <a:cubicBezTo>
                    <a:pt x="2" y="31"/>
                    <a:pt x="0" y="31"/>
                    <a:pt x="0" y="30"/>
                  </a:cubicBezTo>
                  <a:cubicBezTo>
                    <a:pt x="0" y="34"/>
                    <a:pt x="0" y="34"/>
                    <a:pt x="0" y="34"/>
                  </a:cubicBezTo>
                  <a:cubicBezTo>
                    <a:pt x="0" y="34"/>
                    <a:pt x="2" y="35"/>
                    <a:pt x="3" y="35"/>
                  </a:cubicBezTo>
                  <a:cubicBezTo>
                    <a:pt x="5" y="35"/>
                    <a:pt x="6" y="36"/>
                    <a:pt x="7" y="36"/>
                  </a:cubicBezTo>
                  <a:cubicBezTo>
                    <a:pt x="7" y="40"/>
                    <a:pt x="7" y="40"/>
                    <a:pt x="7" y="40"/>
                  </a:cubicBezTo>
                  <a:cubicBezTo>
                    <a:pt x="10" y="40"/>
                    <a:pt x="10" y="40"/>
                    <a:pt x="10" y="40"/>
                  </a:cubicBezTo>
                  <a:cubicBezTo>
                    <a:pt x="10" y="35"/>
                    <a:pt x="10" y="35"/>
                    <a:pt x="10" y="35"/>
                  </a:cubicBezTo>
                  <a:cubicBezTo>
                    <a:pt x="12" y="35"/>
                    <a:pt x="14" y="34"/>
                    <a:pt x="15" y="33"/>
                  </a:cubicBezTo>
                  <a:cubicBezTo>
                    <a:pt x="17" y="31"/>
                    <a:pt x="18" y="30"/>
                    <a:pt x="18" y="27"/>
                  </a:cubicBezTo>
                  <a:cubicBezTo>
                    <a:pt x="18" y="26"/>
                    <a:pt x="17" y="25"/>
                    <a:pt x="17" y="24"/>
                  </a:cubicBezTo>
                  <a:cubicBezTo>
                    <a:pt x="16" y="23"/>
                    <a:pt x="15" y="22"/>
                    <a:pt x="14" y="21"/>
                  </a:cubicBezTo>
                  <a:cubicBezTo>
                    <a:pt x="13" y="21"/>
                    <a:pt x="12" y="20"/>
                    <a:pt x="10" y="19"/>
                  </a:cubicBezTo>
                  <a:cubicBezTo>
                    <a:pt x="10" y="7"/>
                    <a:pt x="10" y="7"/>
                    <a:pt x="10" y="7"/>
                  </a:cubicBezTo>
                  <a:cubicBezTo>
                    <a:pt x="12" y="7"/>
                    <a:pt x="14" y="8"/>
                    <a:pt x="16" y="9"/>
                  </a:cubicBezTo>
                  <a:cubicBezTo>
                    <a:pt x="16" y="5"/>
                    <a:pt x="16" y="5"/>
                    <a:pt x="16" y="5"/>
                  </a:cubicBezTo>
                  <a:cubicBezTo>
                    <a:pt x="14" y="4"/>
                    <a:pt x="12" y="4"/>
                    <a:pt x="10" y="4"/>
                  </a:cubicBezTo>
                  <a:cubicBezTo>
                    <a:pt x="10" y="0"/>
                    <a:pt x="10" y="0"/>
                    <a:pt x="10" y="0"/>
                  </a:cubicBezTo>
                  <a:cubicBezTo>
                    <a:pt x="7" y="0"/>
                    <a:pt x="7" y="0"/>
                    <a:pt x="7" y="0"/>
                  </a:cubicBezTo>
                  <a:cubicBezTo>
                    <a:pt x="7" y="4"/>
                    <a:pt x="7" y="4"/>
                    <a:pt x="7" y="4"/>
                  </a:cubicBezTo>
                  <a:cubicBezTo>
                    <a:pt x="5" y="4"/>
                    <a:pt x="3" y="5"/>
                    <a:pt x="2" y="7"/>
                  </a:cubicBezTo>
                  <a:cubicBezTo>
                    <a:pt x="0" y="8"/>
                    <a:pt x="0" y="10"/>
                    <a:pt x="0" y="12"/>
                  </a:cubicBezTo>
                  <a:cubicBezTo>
                    <a:pt x="0" y="14"/>
                    <a:pt x="0" y="16"/>
                    <a:pt x="1" y="17"/>
                  </a:cubicBezTo>
                  <a:cubicBezTo>
                    <a:pt x="2" y="18"/>
                    <a:pt x="4" y="20"/>
                    <a:pt x="7" y="21"/>
                  </a:cubicBezTo>
                  <a:close/>
                  <a:moveTo>
                    <a:pt x="10" y="22"/>
                  </a:moveTo>
                  <a:cubicBezTo>
                    <a:pt x="12" y="24"/>
                    <a:pt x="14" y="26"/>
                    <a:pt x="14" y="28"/>
                  </a:cubicBezTo>
                  <a:cubicBezTo>
                    <a:pt x="14" y="30"/>
                    <a:pt x="12" y="32"/>
                    <a:pt x="10" y="32"/>
                  </a:cubicBezTo>
                  <a:lnTo>
                    <a:pt x="10" y="22"/>
                  </a:lnTo>
                  <a:close/>
                  <a:moveTo>
                    <a:pt x="4" y="9"/>
                  </a:moveTo>
                  <a:cubicBezTo>
                    <a:pt x="5" y="8"/>
                    <a:pt x="6" y="7"/>
                    <a:pt x="7" y="7"/>
                  </a:cubicBezTo>
                  <a:cubicBezTo>
                    <a:pt x="7" y="17"/>
                    <a:pt x="7" y="17"/>
                    <a:pt x="7" y="17"/>
                  </a:cubicBezTo>
                  <a:cubicBezTo>
                    <a:pt x="6" y="17"/>
                    <a:pt x="5" y="16"/>
                    <a:pt x="4" y="15"/>
                  </a:cubicBezTo>
                  <a:cubicBezTo>
                    <a:pt x="4" y="14"/>
                    <a:pt x="3" y="13"/>
                    <a:pt x="3" y="12"/>
                  </a:cubicBezTo>
                  <a:cubicBezTo>
                    <a:pt x="3" y="11"/>
                    <a:pt x="4"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0" name="Freeform 6"/>
            <p:cNvSpPr>
              <a:spLocks noEditPoints="1"/>
            </p:cNvSpPr>
            <p:nvPr/>
          </p:nvSpPr>
          <p:spPr bwMode="auto">
            <a:xfrm>
              <a:off x="1154113" y="2252663"/>
              <a:ext cx="1069975" cy="1201738"/>
            </a:xfrm>
            <a:custGeom>
              <a:avLst/>
              <a:gdLst>
                <a:gd name="T0" fmla="*/ 102 w 232"/>
                <a:gd name="T1" fmla="*/ 231 h 261"/>
                <a:gd name="T2" fmla="*/ 102 w 232"/>
                <a:gd name="T3" fmla="*/ 261 h 261"/>
                <a:gd name="T4" fmla="*/ 133 w 232"/>
                <a:gd name="T5" fmla="*/ 231 h 261"/>
                <a:gd name="T6" fmla="*/ 232 w 232"/>
                <a:gd name="T7" fmla="*/ 116 h 261"/>
                <a:gd name="T8" fmla="*/ 116 w 232"/>
                <a:gd name="T9" fmla="*/ 0 h 261"/>
                <a:gd name="T10" fmla="*/ 0 w 232"/>
                <a:gd name="T11" fmla="*/ 116 h 261"/>
                <a:gd name="T12" fmla="*/ 102 w 232"/>
                <a:gd name="T13" fmla="*/ 231 h 261"/>
                <a:gd name="T14" fmla="*/ 116 w 232"/>
                <a:gd name="T15" fmla="*/ 24 h 261"/>
                <a:gd name="T16" fmla="*/ 208 w 232"/>
                <a:gd name="T17" fmla="*/ 116 h 261"/>
                <a:gd name="T18" fmla="*/ 116 w 232"/>
                <a:gd name="T19" fmla="*/ 208 h 261"/>
                <a:gd name="T20" fmla="*/ 25 w 232"/>
                <a:gd name="T21" fmla="*/ 116 h 261"/>
                <a:gd name="T22" fmla="*/ 116 w 232"/>
                <a:gd name="T23" fmla="*/ 2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2" h="261">
                  <a:moveTo>
                    <a:pt x="102" y="231"/>
                  </a:moveTo>
                  <a:cubicBezTo>
                    <a:pt x="102" y="261"/>
                    <a:pt x="102" y="261"/>
                    <a:pt x="102" y="261"/>
                  </a:cubicBezTo>
                  <a:cubicBezTo>
                    <a:pt x="133" y="231"/>
                    <a:pt x="133" y="231"/>
                    <a:pt x="133" y="231"/>
                  </a:cubicBezTo>
                  <a:cubicBezTo>
                    <a:pt x="189" y="223"/>
                    <a:pt x="232" y="174"/>
                    <a:pt x="232" y="116"/>
                  </a:cubicBezTo>
                  <a:cubicBezTo>
                    <a:pt x="232" y="52"/>
                    <a:pt x="180" y="0"/>
                    <a:pt x="116" y="0"/>
                  </a:cubicBezTo>
                  <a:cubicBezTo>
                    <a:pt x="52" y="0"/>
                    <a:pt x="0" y="52"/>
                    <a:pt x="0" y="116"/>
                  </a:cubicBezTo>
                  <a:cubicBezTo>
                    <a:pt x="0" y="175"/>
                    <a:pt x="45" y="224"/>
                    <a:pt x="102" y="231"/>
                  </a:cubicBezTo>
                  <a:close/>
                  <a:moveTo>
                    <a:pt x="116" y="24"/>
                  </a:moveTo>
                  <a:cubicBezTo>
                    <a:pt x="167" y="24"/>
                    <a:pt x="208" y="65"/>
                    <a:pt x="208" y="116"/>
                  </a:cubicBezTo>
                  <a:cubicBezTo>
                    <a:pt x="208" y="166"/>
                    <a:pt x="167" y="208"/>
                    <a:pt x="116" y="208"/>
                  </a:cubicBezTo>
                  <a:cubicBezTo>
                    <a:pt x="66" y="208"/>
                    <a:pt x="25" y="166"/>
                    <a:pt x="25" y="116"/>
                  </a:cubicBezTo>
                  <a:cubicBezTo>
                    <a:pt x="25" y="65"/>
                    <a:pt x="66" y="24"/>
                    <a:pt x="11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1" name="Freeform 7"/>
            <p:cNvSpPr>
              <a:spLocks/>
            </p:cNvSpPr>
            <p:nvPr/>
          </p:nvSpPr>
          <p:spPr bwMode="auto">
            <a:xfrm>
              <a:off x="1795463" y="2555875"/>
              <a:ext cx="92075" cy="147638"/>
            </a:xfrm>
            <a:custGeom>
              <a:avLst/>
              <a:gdLst>
                <a:gd name="T0" fmla="*/ 20 w 20"/>
                <a:gd name="T1" fmla="*/ 29 h 32"/>
                <a:gd name="T2" fmla="*/ 4 w 20"/>
                <a:gd name="T3" fmla="*/ 29 h 32"/>
                <a:gd name="T4" fmla="*/ 8 w 20"/>
                <a:gd name="T5" fmla="*/ 21 h 32"/>
                <a:gd name="T6" fmla="*/ 8 w 20"/>
                <a:gd name="T7" fmla="*/ 18 h 32"/>
                <a:gd name="T8" fmla="*/ 15 w 20"/>
                <a:gd name="T9" fmla="*/ 18 h 32"/>
                <a:gd name="T10" fmla="*/ 15 w 20"/>
                <a:gd name="T11" fmla="*/ 15 h 32"/>
                <a:gd name="T12" fmla="*/ 8 w 20"/>
                <a:gd name="T13" fmla="*/ 15 h 32"/>
                <a:gd name="T14" fmla="*/ 8 w 20"/>
                <a:gd name="T15" fmla="*/ 9 h 32"/>
                <a:gd name="T16" fmla="*/ 14 w 20"/>
                <a:gd name="T17" fmla="*/ 3 h 32"/>
                <a:gd name="T18" fmla="*/ 18 w 20"/>
                <a:gd name="T19" fmla="*/ 4 h 32"/>
                <a:gd name="T20" fmla="*/ 18 w 20"/>
                <a:gd name="T21" fmla="*/ 0 h 32"/>
                <a:gd name="T22" fmla="*/ 13 w 20"/>
                <a:gd name="T23" fmla="*/ 0 h 32"/>
                <a:gd name="T24" fmla="*/ 7 w 20"/>
                <a:gd name="T25" fmla="*/ 2 h 32"/>
                <a:gd name="T26" fmla="*/ 5 w 20"/>
                <a:gd name="T27" fmla="*/ 9 h 32"/>
                <a:gd name="T28" fmla="*/ 5 w 20"/>
                <a:gd name="T29" fmla="*/ 15 h 32"/>
                <a:gd name="T30" fmla="*/ 1 w 20"/>
                <a:gd name="T31" fmla="*/ 15 h 32"/>
                <a:gd name="T32" fmla="*/ 1 w 20"/>
                <a:gd name="T33" fmla="*/ 18 h 32"/>
                <a:gd name="T34" fmla="*/ 5 w 20"/>
                <a:gd name="T35" fmla="*/ 18 h 32"/>
                <a:gd name="T36" fmla="*/ 5 w 20"/>
                <a:gd name="T37" fmla="*/ 22 h 32"/>
                <a:gd name="T38" fmla="*/ 0 w 20"/>
                <a:gd name="T39" fmla="*/ 29 h 32"/>
                <a:gd name="T40" fmla="*/ 0 w 20"/>
                <a:gd name="T41" fmla="*/ 32 h 32"/>
                <a:gd name="T42" fmla="*/ 20 w 20"/>
                <a:gd name="T43" fmla="*/ 32 h 32"/>
                <a:gd name="T44" fmla="*/ 20 w 20"/>
                <a:gd name="T45"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2">
                  <a:moveTo>
                    <a:pt x="20" y="29"/>
                  </a:moveTo>
                  <a:cubicBezTo>
                    <a:pt x="4" y="29"/>
                    <a:pt x="4" y="29"/>
                    <a:pt x="4" y="29"/>
                  </a:cubicBezTo>
                  <a:cubicBezTo>
                    <a:pt x="7" y="27"/>
                    <a:pt x="8" y="25"/>
                    <a:pt x="8" y="21"/>
                  </a:cubicBezTo>
                  <a:cubicBezTo>
                    <a:pt x="8" y="18"/>
                    <a:pt x="8" y="18"/>
                    <a:pt x="8" y="18"/>
                  </a:cubicBezTo>
                  <a:cubicBezTo>
                    <a:pt x="15" y="18"/>
                    <a:pt x="15" y="18"/>
                    <a:pt x="15" y="18"/>
                  </a:cubicBezTo>
                  <a:cubicBezTo>
                    <a:pt x="15" y="15"/>
                    <a:pt x="15" y="15"/>
                    <a:pt x="15" y="15"/>
                  </a:cubicBezTo>
                  <a:cubicBezTo>
                    <a:pt x="8" y="15"/>
                    <a:pt x="8" y="15"/>
                    <a:pt x="8" y="15"/>
                  </a:cubicBezTo>
                  <a:cubicBezTo>
                    <a:pt x="8" y="9"/>
                    <a:pt x="8" y="9"/>
                    <a:pt x="8" y="9"/>
                  </a:cubicBezTo>
                  <a:cubicBezTo>
                    <a:pt x="8" y="5"/>
                    <a:pt x="10" y="3"/>
                    <a:pt x="14" y="3"/>
                  </a:cubicBezTo>
                  <a:cubicBezTo>
                    <a:pt x="15" y="3"/>
                    <a:pt x="17" y="3"/>
                    <a:pt x="18" y="4"/>
                  </a:cubicBezTo>
                  <a:cubicBezTo>
                    <a:pt x="18" y="0"/>
                    <a:pt x="18" y="0"/>
                    <a:pt x="18" y="0"/>
                  </a:cubicBezTo>
                  <a:cubicBezTo>
                    <a:pt x="17" y="0"/>
                    <a:pt x="15" y="0"/>
                    <a:pt x="13" y="0"/>
                  </a:cubicBezTo>
                  <a:cubicBezTo>
                    <a:pt x="11" y="0"/>
                    <a:pt x="9" y="0"/>
                    <a:pt x="7" y="2"/>
                  </a:cubicBezTo>
                  <a:cubicBezTo>
                    <a:pt x="6" y="4"/>
                    <a:pt x="5" y="6"/>
                    <a:pt x="5" y="9"/>
                  </a:cubicBezTo>
                  <a:cubicBezTo>
                    <a:pt x="5" y="15"/>
                    <a:pt x="5" y="15"/>
                    <a:pt x="5" y="15"/>
                  </a:cubicBezTo>
                  <a:cubicBezTo>
                    <a:pt x="1" y="15"/>
                    <a:pt x="1" y="15"/>
                    <a:pt x="1" y="15"/>
                  </a:cubicBezTo>
                  <a:cubicBezTo>
                    <a:pt x="1" y="18"/>
                    <a:pt x="1" y="18"/>
                    <a:pt x="1" y="18"/>
                  </a:cubicBezTo>
                  <a:cubicBezTo>
                    <a:pt x="5" y="18"/>
                    <a:pt x="5" y="18"/>
                    <a:pt x="5" y="18"/>
                  </a:cubicBezTo>
                  <a:cubicBezTo>
                    <a:pt x="5" y="22"/>
                    <a:pt x="5" y="22"/>
                    <a:pt x="5" y="22"/>
                  </a:cubicBezTo>
                  <a:cubicBezTo>
                    <a:pt x="5" y="25"/>
                    <a:pt x="3" y="28"/>
                    <a:pt x="0" y="29"/>
                  </a:cubicBezTo>
                  <a:cubicBezTo>
                    <a:pt x="0" y="32"/>
                    <a:pt x="0" y="32"/>
                    <a:pt x="0" y="32"/>
                  </a:cubicBezTo>
                  <a:cubicBezTo>
                    <a:pt x="20" y="32"/>
                    <a:pt x="20" y="32"/>
                    <a:pt x="20" y="32"/>
                  </a:cubicBezTo>
                  <a:lnTo>
                    <a:pt x="2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2" name="Freeform 8"/>
            <p:cNvSpPr>
              <a:spLocks/>
            </p:cNvSpPr>
            <p:nvPr/>
          </p:nvSpPr>
          <p:spPr bwMode="auto">
            <a:xfrm>
              <a:off x="1481138" y="2865438"/>
              <a:ext cx="93662" cy="146050"/>
            </a:xfrm>
            <a:custGeom>
              <a:avLst/>
              <a:gdLst>
                <a:gd name="T0" fmla="*/ 7 w 20"/>
                <a:gd name="T1" fmla="*/ 3 h 32"/>
                <a:gd name="T2" fmla="*/ 3 w 20"/>
                <a:gd name="T3" fmla="*/ 11 h 32"/>
                <a:gd name="T4" fmla="*/ 0 w 20"/>
                <a:gd name="T5" fmla="*/ 11 h 32"/>
                <a:gd name="T6" fmla="*/ 0 w 20"/>
                <a:gd name="T7" fmla="*/ 14 h 32"/>
                <a:gd name="T8" fmla="*/ 2 w 20"/>
                <a:gd name="T9" fmla="*/ 14 h 32"/>
                <a:gd name="T10" fmla="*/ 2 w 20"/>
                <a:gd name="T11" fmla="*/ 16 h 32"/>
                <a:gd name="T12" fmla="*/ 2 w 20"/>
                <a:gd name="T13" fmla="*/ 17 h 32"/>
                <a:gd name="T14" fmla="*/ 2 w 20"/>
                <a:gd name="T15" fmla="*/ 18 h 32"/>
                <a:gd name="T16" fmla="*/ 0 w 20"/>
                <a:gd name="T17" fmla="*/ 18 h 32"/>
                <a:gd name="T18" fmla="*/ 0 w 20"/>
                <a:gd name="T19" fmla="*/ 21 h 32"/>
                <a:gd name="T20" fmla="*/ 3 w 20"/>
                <a:gd name="T21" fmla="*/ 21 h 32"/>
                <a:gd name="T22" fmla="*/ 14 w 20"/>
                <a:gd name="T23" fmla="*/ 32 h 32"/>
                <a:gd name="T24" fmla="*/ 20 w 20"/>
                <a:gd name="T25" fmla="*/ 31 h 32"/>
                <a:gd name="T26" fmla="*/ 20 w 20"/>
                <a:gd name="T27" fmla="*/ 27 h 32"/>
                <a:gd name="T28" fmla="*/ 14 w 20"/>
                <a:gd name="T29" fmla="*/ 29 h 32"/>
                <a:gd name="T30" fmla="*/ 6 w 20"/>
                <a:gd name="T31" fmla="*/ 21 h 32"/>
                <a:gd name="T32" fmla="*/ 17 w 20"/>
                <a:gd name="T33" fmla="*/ 21 h 32"/>
                <a:gd name="T34" fmla="*/ 17 w 20"/>
                <a:gd name="T35" fmla="*/ 18 h 32"/>
                <a:gd name="T36" fmla="*/ 6 w 20"/>
                <a:gd name="T37" fmla="*/ 18 h 32"/>
                <a:gd name="T38" fmla="*/ 6 w 20"/>
                <a:gd name="T39" fmla="*/ 17 h 32"/>
                <a:gd name="T40" fmla="*/ 6 w 20"/>
                <a:gd name="T41" fmla="*/ 16 h 32"/>
                <a:gd name="T42" fmla="*/ 6 w 20"/>
                <a:gd name="T43" fmla="*/ 14 h 32"/>
                <a:gd name="T44" fmla="*/ 17 w 20"/>
                <a:gd name="T45" fmla="*/ 14 h 32"/>
                <a:gd name="T46" fmla="*/ 17 w 20"/>
                <a:gd name="T47" fmla="*/ 11 h 32"/>
                <a:gd name="T48" fmla="*/ 6 w 20"/>
                <a:gd name="T49" fmla="*/ 11 h 32"/>
                <a:gd name="T50" fmla="*/ 10 w 20"/>
                <a:gd name="T51" fmla="*/ 5 h 32"/>
                <a:gd name="T52" fmla="*/ 14 w 20"/>
                <a:gd name="T53" fmla="*/ 3 h 32"/>
                <a:gd name="T54" fmla="*/ 20 w 20"/>
                <a:gd name="T55" fmla="*/ 4 h 32"/>
                <a:gd name="T56" fmla="*/ 20 w 20"/>
                <a:gd name="T57" fmla="*/ 1 h 32"/>
                <a:gd name="T58" fmla="*/ 15 w 20"/>
                <a:gd name="T59" fmla="*/ 0 h 32"/>
                <a:gd name="T60" fmla="*/ 7 w 20"/>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2">
                  <a:moveTo>
                    <a:pt x="7" y="3"/>
                  </a:moveTo>
                  <a:cubicBezTo>
                    <a:pt x="5" y="5"/>
                    <a:pt x="4" y="7"/>
                    <a:pt x="3" y="11"/>
                  </a:cubicBezTo>
                  <a:cubicBezTo>
                    <a:pt x="0" y="11"/>
                    <a:pt x="0" y="11"/>
                    <a:pt x="0" y="11"/>
                  </a:cubicBezTo>
                  <a:cubicBezTo>
                    <a:pt x="0" y="14"/>
                    <a:pt x="0" y="14"/>
                    <a:pt x="0" y="14"/>
                  </a:cubicBezTo>
                  <a:cubicBezTo>
                    <a:pt x="2" y="14"/>
                    <a:pt x="2" y="14"/>
                    <a:pt x="2" y="14"/>
                  </a:cubicBezTo>
                  <a:cubicBezTo>
                    <a:pt x="2" y="16"/>
                    <a:pt x="2" y="16"/>
                    <a:pt x="2" y="16"/>
                  </a:cubicBezTo>
                  <a:cubicBezTo>
                    <a:pt x="2" y="17"/>
                    <a:pt x="2" y="17"/>
                    <a:pt x="2" y="17"/>
                  </a:cubicBezTo>
                  <a:cubicBezTo>
                    <a:pt x="2" y="18"/>
                    <a:pt x="2" y="18"/>
                    <a:pt x="2" y="18"/>
                  </a:cubicBezTo>
                  <a:cubicBezTo>
                    <a:pt x="0" y="18"/>
                    <a:pt x="0" y="18"/>
                    <a:pt x="0" y="18"/>
                  </a:cubicBezTo>
                  <a:cubicBezTo>
                    <a:pt x="0" y="21"/>
                    <a:pt x="0" y="21"/>
                    <a:pt x="0" y="21"/>
                  </a:cubicBezTo>
                  <a:cubicBezTo>
                    <a:pt x="3" y="21"/>
                    <a:pt x="3" y="21"/>
                    <a:pt x="3" y="21"/>
                  </a:cubicBezTo>
                  <a:cubicBezTo>
                    <a:pt x="4" y="29"/>
                    <a:pt x="8" y="32"/>
                    <a:pt x="14" y="32"/>
                  </a:cubicBezTo>
                  <a:cubicBezTo>
                    <a:pt x="16" y="32"/>
                    <a:pt x="18" y="32"/>
                    <a:pt x="20" y="31"/>
                  </a:cubicBezTo>
                  <a:cubicBezTo>
                    <a:pt x="20" y="27"/>
                    <a:pt x="20" y="27"/>
                    <a:pt x="20" y="27"/>
                  </a:cubicBezTo>
                  <a:cubicBezTo>
                    <a:pt x="18" y="29"/>
                    <a:pt x="16" y="29"/>
                    <a:pt x="14" y="29"/>
                  </a:cubicBezTo>
                  <a:cubicBezTo>
                    <a:pt x="10" y="29"/>
                    <a:pt x="7" y="26"/>
                    <a:pt x="6" y="21"/>
                  </a:cubicBezTo>
                  <a:cubicBezTo>
                    <a:pt x="17" y="21"/>
                    <a:pt x="17" y="21"/>
                    <a:pt x="17" y="21"/>
                  </a:cubicBezTo>
                  <a:cubicBezTo>
                    <a:pt x="17" y="18"/>
                    <a:pt x="17" y="18"/>
                    <a:pt x="17" y="18"/>
                  </a:cubicBezTo>
                  <a:cubicBezTo>
                    <a:pt x="6" y="18"/>
                    <a:pt x="6" y="18"/>
                    <a:pt x="6" y="18"/>
                  </a:cubicBezTo>
                  <a:cubicBezTo>
                    <a:pt x="6" y="17"/>
                    <a:pt x="6" y="17"/>
                    <a:pt x="6" y="17"/>
                  </a:cubicBezTo>
                  <a:cubicBezTo>
                    <a:pt x="6" y="16"/>
                    <a:pt x="6" y="16"/>
                    <a:pt x="6" y="16"/>
                  </a:cubicBezTo>
                  <a:cubicBezTo>
                    <a:pt x="6" y="15"/>
                    <a:pt x="6" y="15"/>
                    <a:pt x="6" y="14"/>
                  </a:cubicBezTo>
                  <a:cubicBezTo>
                    <a:pt x="17" y="14"/>
                    <a:pt x="17" y="14"/>
                    <a:pt x="17" y="14"/>
                  </a:cubicBezTo>
                  <a:cubicBezTo>
                    <a:pt x="17" y="11"/>
                    <a:pt x="17" y="11"/>
                    <a:pt x="17" y="11"/>
                  </a:cubicBezTo>
                  <a:cubicBezTo>
                    <a:pt x="6" y="11"/>
                    <a:pt x="6" y="11"/>
                    <a:pt x="6" y="11"/>
                  </a:cubicBezTo>
                  <a:cubicBezTo>
                    <a:pt x="7" y="8"/>
                    <a:pt x="8" y="6"/>
                    <a:pt x="10" y="5"/>
                  </a:cubicBezTo>
                  <a:cubicBezTo>
                    <a:pt x="11" y="3"/>
                    <a:pt x="13" y="3"/>
                    <a:pt x="14" y="3"/>
                  </a:cubicBezTo>
                  <a:cubicBezTo>
                    <a:pt x="16" y="3"/>
                    <a:pt x="18" y="3"/>
                    <a:pt x="20" y="4"/>
                  </a:cubicBezTo>
                  <a:cubicBezTo>
                    <a:pt x="20" y="1"/>
                    <a:pt x="20" y="1"/>
                    <a:pt x="20" y="1"/>
                  </a:cubicBezTo>
                  <a:cubicBezTo>
                    <a:pt x="18" y="0"/>
                    <a:pt x="17" y="0"/>
                    <a:pt x="15" y="0"/>
                  </a:cubicBezTo>
                  <a:cubicBezTo>
                    <a:pt x="12" y="0"/>
                    <a:pt x="9" y="1"/>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3" name="Freeform 9"/>
            <p:cNvSpPr>
              <a:spLocks/>
            </p:cNvSpPr>
            <p:nvPr/>
          </p:nvSpPr>
          <p:spPr bwMode="auto">
            <a:xfrm>
              <a:off x="1790700" y="2865438"/>
              <a:ext cx="101600" cy="146050"/>
            </a:xfrm>
            <a:custGeom>
              <a:avLst/>
              <a:gdLst>
                <a:gd name="T0" fmla="*/ 18 w 22"/>
                <a:gd name="T1" fmla="*/ 0 h 32"/>
                <a:gd name="T2" fmla="*/ 12 w 22"/>
                <a:gd name="T3" fmla="*/ 11 h 32"/>
                <a:gd name="T4" fmla="*/ 11 w 22"/>
                <a:gd name="T5" fmla="*/ 14 h 32"/>
                <a:gd name="T6" fmla="*/ 11 w 22"/>
                <a:gd name="T7" fmla="*/ 14 h 32"/>
                <a:gd name="T8" fmla="*/ 10 w 22"/>
                <a:gd name="T9" fmla="*/ 11 h 32"/>
                <a:gd name="T10" fmla="*/ 4 w 22"/>
                <a:gd name="T11" fmla="*/ 0 h 32"/>
                <a:gd name="T12" fmla="*/ 0 w 22"/>
                <a:gd name="T13" fmla="*/ 0 h 32"/>
                <a:gd name="T14" fmla="*/ 8 w 22"/>
                <a:gd name="T15" fmla="*/ 15 h 32"/>
                <a:gd name="T16" fmla="*/ 2 w 22"/>
                <a:gd name="T17" fmla="*/ 15 h 32"/>
                <a:gd name="T18" fmla="*/ 2 w 22"/>
                <a:gd name="T19" fmla="*/ 18 h 32"/>
                <a:gd name="T20" fmla="*/ 9 w 22"/>
                <a:gd name="T21" fmla="*/ 18 h 32"/>
                <a:gd name="T22" fmla="*/ 9 w 22"/>
                <a:gd name="T23" fmla="*/ 22 h 32"/>
                <a:gd name="T24" fmla="*/ 2 w 22"/>
                <a:gd name="T25" fmla="*/ 22 h 32"/>
                <a:gd name="T26" fmla="*/ 2 w 22"/>
                <a:gd name="T27" fmla="*/ 25 h 32"/>
                <a:gd name="T28" fmla="*/ 9 w 22"/>
                <a:gd name="T29" fmla="*/ 25 h 32"/>
                <a:gd name="T30" fmla="*/ 9 w 22"/>
                <a:gd name="T31" fmla="*/ 32 h 32"/>
                <a:gd name="T32" fmla="*/ 13 w 22"/>
                <a:gd name="T33" fmla="*/ 32 h 32"/>
                <a:gd name="T34" fmla="*/ 13 w 22"/>
                <a:gd name="T35" fmla="*/ 25 h 32"/>
                <a:gd name="T36" fmla="*/ 20 w 22"/>
                <a:gd name="T37" fmla="*/ 25 h 32"/>
                <a:gd name="T38" fmla="*/ 20 w 22"/>
                <a:gd name="T39" fmla="*/ 22 h 32"/>
                <a:gd name="T40" fmla="*/ 13 w 22"/>
                <a:gd name="T41" fmla="*/ 22 h 32"/>
                <a:gd name="T42" fmla="*/ 13 w 22"/>
                <a:gd name="T43" fmla="*/ 18 h 32"/>
                <a:gd name="T44" fmla="*/ 20 w 22"/>
                <a:gd name="T45" fmla="*/ 18 h 32"/>
                <a:gd name="T46" fmla="*/ 20 w 22"/>
                <a:gd name="T47" fmla="*/ 15 h 32"/>
                <a:gd name="T48" fmla="*/ 14 w 22"/>
                <a:gd name="T49" fmla="*/ 15 h 32"/>
                <a:gd name="T50" fmla="*/ 22 w 22"/>
                <a:gd name="T51" fmla="*/ 0 h 32"/>
                <a:gd name="T52" fmla="*/ 18 w 22"/>
                <a:gd name="T5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32">
                  <a:moveTo>
                    <a:pt x="18" y="0"/>
                  </a:moveTo>
                  <a:cubicBezTo>
                    <a:pt x="12" y="11"/>
                    <a:pt x="12" y="11"/>
                    <a:pt x="12" y="11"/>
                  </a:cubicBezTo>
                  <a:cubicBezTo>
                    <a:pt x="12" y="12"/>
                    <a:pt x="11" y="13"/>
                    <a:pt x="11" y="14"/>
                  </a:cubicBezTo>
                  <a:cubicBezTo>
                    <a:pt x="11" y="14"/>
                    <a:pt x="11" y="14"/>
                    <a:pt x="11" y="14"/>
                  </a:cubicBezTo>
                  <a:cubicBezTo>
                    <a:pt x="11" y="13"/>
                    <a:pt x="10" y="13"/>
                    <a:pt x="10" y="11"/>
                  </a:cubicBezTo>
                  <a:cubicBezTo>
                    <a:pt x="4" y="0"/>
                    <a:pt x="4" y="0"/>
                    <a:pt x="4" y="0"/>
                  </a:cubicBezTo>
                  <a:cubicBezTo>
                    <a:pt x="0" y="0"/>
                    <a:pt x="0" y="0"/>
                    <a:pt x="0" y="0"/>
                  </a:cubicBezTo>
                  <a:cubicBezTo>
                    <a:pt x="8" y="15"/>
                    <a:pt x="8" y="15"/>
                    <a:pt x="8" y="15"/>
                  </a:cubicBezTo>
                  <a:cubicBezTo>
                    <a:pt x="2" y="15"/>
                    <a:pt x="2" y="15"/>
                    <a:pt x="2" y="15"/>
                  </a:cubicBezTo>
                  <a:cubicBezTo>
                    <a:pt x="2" y="18"/>
                    <a:pt x="2" y="18"/>
                    <a:pt x="2" y="18"/>
                  </a:cubicBezTo>
                  <a:cubicBezTo>
                    <a:pt x="9" y="18"/>
                    <a:pt x="9" y="18"/>
                    <a:pt x="9" y="18"/>
                  </a:cubicBezTo>
                  <a:cubicBezTo>
                    <a:pt x="9" y="22"/>
                    <a:pt x="9" y="22"/>
                    <a:pt x="9" y="22"/>
                  </a:cubicBezTo>
                  <a:cubicBezTo>
                    <a:pt x="2" y="22"/>
                    <a:pt x="2" y="22"/>
                    <a:pt x="2" y="22"/>
                  </a:cubicBezTo>
                  <a:cubicBezTo>
                    <a:pt x="2" y="25"/>
                    <a:pt x="2" y="25"/>
                    <a:pt x="2" y="25"/>
                  </a:cubicBezTo>
                  <a:cubicBezTo>
                    <a:pt x="9" y="25"/>
                    <a:pt x="9" y="25"/>
                    <a:pt x="9" y="25"/>
                  </a:cubicBezTo>
                  <a:cubicBezTo>
                    <a:pt x="9" y="32"/>
                    <a:pt x="9" y="32"/>
                    <a:pt x="9" y="32"/>
                  </a:cubicBezTo>
                  <a:cubicBezTo>
                    <a:pt x="13" y="32"/>
                    <a:pt x="13" y="32"/>
                    <a:pt x="13" y="32"/>
                  </a:cubicBezTo>
                  <a:cubicBezTo>
                    <a:pt x="13" y="25"/>
                    <a:pt x="13" y="25"/>
                    <a:pt x="13" y="25"/>
                  </a:cubicBezTo>
                  <a:cubicBezTo>
                    <a:pt x="20" y="25"/>
                    <a:pt x="20" y="25"/>
                    <a:pt x="20" y="25"/>
                  </a:cubicBezTo>
                  <a:cubicBezTo>
                    <a:pt x="20" y="22"/>
                    <a:pt x="20" y="22"/>
                    <a:pt x="20" y="22"/>
                  </a:cubicBezTo>
                  <a:cubicBezTo>
                    <a:pt x="13" y="22"/>
                    <a:pt x="13" y="22"/>
                    <a:pt x="13" y="22"/>
                  </a:cubicBezTo>
                  <a:cubicBezTo>
                    <a:pt x="13" y="18"/>
                    <a:pt x="13" y="18"/>
                    <a:pt x="13" y="18"/>
                  </a:cubicBezTo>
                  <a:cubicBezTo>
                    <a:pt x="20" y="18"/>
                    <a:pt x="20" y="18"/>
                    <a:pt x="20" y="18"/>
                  </a:cubicBezTo>
                  <a:cubicBezTo>
                    <a:pt x="20" y="15"/>
                    <a:pt x="20" y="15"/>
                    <a:pt x="20" y="15"/>
                  </a:cubicBezTo>
                  <a:cubicBezTo>
                    <a:pt x="14" y="15"/>
                    <a:pt x="14" y="15"/>
                    <a:pt x="14" y="15"/>
                  </a:cubicBezTo>
                  <a:cubicBezTo>
                    <a:pt x="22" y="0"/>
                    <a:pt x="22" y="0"/>
                    <a:pt x="22"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4" name="Freeform 10"/>
            <p:cNvSpPr>
              <a:spLocks/>
            </p:cNvSpPr>
            <p:nvPr/>
          </p:nvSpPr>
          <p:spPr bwMode="auto">
            <a:xfrm>
              <a:off x="1449388" y="2538413"/>
              <a:ext cx="498475" cy="496888"/>
            </a:xfrm>
            <a:custGeom>
              <a:avLst/>
              <a:gdLst>
                <a:gd name="T0" fmla="*/ 151 w 314"/>
                <a:gd name="T1" fmla="*/ 313 h 313"/>
                <a:gd name="T2" fmla="*/ 160 w 314"/>
                <a:gd name="T3" fmla="*/ 313 h 313"/>
                <a:gd name="T4" fmla="*/ 160 w 314"/>
                <a:gd name="T5" fmla="*/ 162 h 313"/>
                <a:gd name="T6" fmla="*/ 314 w 314"/>
                <a:gd name="T7" fmla="*/ 162 h 313"/>
                <a:gd name="T8" fmla="*/ 314 w 314"/>
                <a:gd name="T9" fmla="*/ 153 h 313"/>
                <a:gd name="T10" fmla="*/ 160 w 314"/>
                <a:gd name="T11" fmla="*/ 153 h 313"/>
                <a:gd name="T12" fmla="*/ 160 w 314"/>
                <a:gd name="T13" fmla="*/ 0 h 313"/>
                <a:gd name="T14" fmla="*/ 151 w 314"/>
                <a:gd name="T15" fmla="*/ 0 h 313"/>
                <a:gd name="T16" fmla="*/ 151 w 314"/>
                <a:gd name="T17" fmla="*/ 153 h 313"/>
                <a:gd name="T18" fmla="*/ 0 w 314"/>
                <a:gd name="T19" fmla="*/ 153 h 313"/>
                <a:gd name="T20" fmla="*/ 0 w 314"/>
                <a:gd name="T21" fmla="*/ 162 h 313"/>
                <a:gd name="T22" fmla="*/ 151 w 314"/>
                <a:gd name="T23" fmla="*/ 162 h 313"/>
                <a:gd name="T24" fmla="*/ 151 w 314"/>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313">
                  <a:moveTo>
                    <a:pt x="151" y="313"/>
                  </a:moveTo>
                  <a:lnTo>
                    <a:pt x="160" y="313"/>
                  </a:lnTo>
                  <a:lnTo>
                    <a:pt x="160" y="162"/>
                  </a:lnTo>
                  <a:lnTo>
                    <a:pt x="314" y="162"/>
                  </a:lnTo>
                  <a:lnTo>
                    <a:pt x="314" y="153"/>
                  </a:lnTo>
                  <a:lnTo>
                    <a:pt x="160" y="153"/>
                  </a:lnTo>
                  <a:lnTo>
                    <a:pt x="160" y="0"/>
                  </a:lnTo>
                  <a:lnTo>
                    <a:pt x="151" y="0"/>
                  </a:lnTo>
                  <a:lnTo>
                    <a:pt x="151" y="153"/>
                  </a:lnTo>
                  <a:lnTo>
                    <a:pt x="0" y="153"/>
                  </a:lnTo>
                  <a:lnTo>
                    <a:pt x="0" y="162"/>
                  </a:lnTo>
                  <a:lnTo>
                    <a:pt x="151" y="162"/>
                  </a:lnTo>
                  <a:lnTo>
                    <a:pt x="151"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5" name="Rectangle 11"/>
            <p:cNvSpPr>
              <a:spLocks noChangeArrowheads="1"/>
            </p:cNvSpPr>
            <p:nvPr/>
          </p:nvSpPr>
          <p:spPr bwMode="auto">
            <a:xfrm>
              <a:off x="1122363" y="3614738"/>
              <a:ext cx="455612" cy="101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6" name="Rectangle 12"/>
            <p:cNvSpPr>
              <a:spLocks noChangeArrowheads="1"/>
            </p:cNvSpPr>
            <p:nvPr/>
          </p:nvSpPr>
          <p:spPr bwMode="auto">
            <a:xfrm>
              <a:off x="1754188" y="3614738"/>
              <a:ext cx="833437" cy="101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87" name="Freeform 13"/>
            <p:cNvSpPr>
              <a:spLocks/>
            </p:cNvSpPr>
            <p:nvPr/>
          </p:nvSpPr>
          <p:spPr bwMode="auto">
            <a:xfrm>
              <a:off x="1606550" y="3508375"/>
              <a:ext cx="114300" cy="300038"/>
            </a:xfrm>
            <a:custGeom>
              <a:avLst/>
              <a:gdLst>
                <a:gd name="T0" fmla="*/ 0 w 72"/>
                <a:gd name="T1" fmla="*/ 67 h 189"/>
                <a:gd name="T2" fmla="*/ 0 w 72"/>
                <a:gd name="T3" fmla="*/ 131 h 189"/>
                <a:gd name="T4" fmla="*/ 0 w 72"/>
                <a:gd name="T5" fmla="*/ 189 h 189"/>
                <a:gd name="T6" fmla="*/ 72 w 72"/>
                <a:gd name="T7" fmla="*/ 189 h 189"/>
                <a:gd name="T8" fmla="*/ 72 w 72"/>
                <a:gd name="T9" fmla="*/ 131 h 189"/>
                <a:gd name="T10" fmla="*/ 72 w 72"/>
                <a:gd name="T11" fmla="*/ 67 h 189"/>
                <a:gd name="T12" fmla="*/ 72 w 72"/>
                <a:gd name="T13" fmla="*/ 0 h 189"/>
                <a:gd name="T14" fmla="*/ 0 w 72"/>
                <a:gd name="T15" fmla="*/ 0 h 189"/>
                <a:gd name="T16" fmla="*/ 0 w 72"/>
                <a:gd name="T17" fmla="*/ 6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89">
                  <a:moveTo>
                    <a:pt x="0" y="67"/>
                  </a:moveTo>
                  <a:lnTo>
                    <a:pt x="0" y="131"/>
                  </a:lnTo>
                  <a:lnTo>
                    <a:pt x="0" y="189"/>
                  </a:lnTo>
                  <a:lnTo>
                    <a:pt x="72" y="189"/>
                  </a:lnTo>
                  <a:lnTo>
                    <a:pt x="72" y="131"/>
                  </a:lnTo>
                  <a:lnTo>
                    <a:pt x="72" y="67"/>
                  </a:lnTo>
                  <a:lnTo>
                    <a:pt x="72" y="0"/>
                  </a:lnTo>
                  <a:lnTo>
                    <a:pt x="0" y="0"/>
                  </a:ln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grpSp>
        <p:nvGrpSpPr>
          <p:cNvPr id="88" name="Group 87"/>
          <p:cNvGrpSpPr>
            <a:grpSpLocks noChangeAspect="1"/>
          </p:cNvGrpSpPr>
          <p:nvPr/>
        </p:nvGrpSpPr>
        <p:grpSpPr>
          <a:xfrm>
            <a:off x="6356678" y="6050715"/>
            <a:ext cx="969825" cy="763480"/>
            <a:chOff x="5005388" y="2266950"/>
            <a:chExt cx="1939925" cy="1527175"/>
          </a:xfrm>
          <a:solidFill>
            <a:schemeClr val="tx1"/>
          </a:solidFill>
        </p:grpSpPr>
        <p:sp>
          <p:nvSpPr>
            <p:cNvPr id="89" name="Oval 17"/>
            <p:cNvSpPr>
              <a:spLocks noChangeArrowheads="1"/>
            </p:cNvSpPr>
            <p:nvPr/>
          </p:nvSpPr>
          <p:spPr bwMode="auto">
            <a:xfrm>
              <a:off x="5688013" y="2640013"/>
              <a:ext cx="352425" cy="360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0" name="Freeform 18"/>
            <p:cNvSpPr>
              <a:spLocks/>
            </p:cNvSpPr>
            <p:nvPr/>
          </p:nvSpPr>
          <p:spPr bwMode="auto">
            <a:xfrm>
              <a:off x="5537201" y="3014663"/>
              <a:ext cx="650875" cy="366713"/>
            </a:xfrm>
            <a:custGeom>
              <a:avLst/>
              <a:gdLst>
                <a:gd name="T0" fmla="*/ 180 w 181"/>
                <a:gd name="T1" fmla="*/ 59 h 102"/>
                <a:gd name="T2" fmla="*/ 131 w 181"/>
                <a:gd name="T3" fmla="*/ 2 h 102"/>
                <a:gd name="T4" fmla="*/ 128 w 181"/>
                <a:gd name="T5" fmla="*/ 1 h 102"/>
                <a:gd name="T6" fmla="*/ 121 w 181"/>
                <a:gd name="T7" fmla="*/ 1 h 102"/>
                <a:gd name="T8" fmla="*/ 92 w 181"/>
                <a:gd name="T9" fmla="*/ 51 h 102"/>
                <a:gd name="T10" fmla="*/ 91 w 181"/>
                <a:gd name="T11" fmla="*/ 51 h 102"/>
                <a:gd name="T12" fmla="*/ 91 w 181"/>
                <a:gd name="T13" fmla="*/ 51 h 102"/>
                <a:gd name="T14" fmla="*/ 91 w 181"/>
                <a:gd name="T15" fmla="*/ 51 h 102"/>
                <a:gd name="T16" fmla="*/ 89 w 181"/>
                <a:gd name="T17" fmla="*/ 51 h 102"/>
                <a:gd name="T18" fmla="*/ 60 w 181"/>
                <a:gd name="T19" fmla="*/ 1 h 102"/>
                <a:gd name="T20" fmla="*/ 54 w 181"/>
                <a:gd name="T21" fmla="*/ 1 h 102"/>
                <a:gd name="T22" fmla="*/ 51 w 181"/>
                <a:gd name="T23" fmla="*/ 2 h 102"/>
                <a:gd name="T24" fmla="*/ 2 w 181"/>
                <a:gd name="T25" fmla="*/ 59 h 102"/>
                <a:gd name="T26" fmla="*/ 1 w 181"/>
                <a:gd name="T27" fmla="*/ 74 h 102"/>
                <a:gd name="T28" fmla="*/ 91 w 181"/>
                <a:gd name="T29" fmla="*/ 102 h 102"/>
                <a:gd name="T30" fmla="*/ 91 w 181"/>
                <a:gd name="T31" fmla="*/ 102 h 102"/>
                <a:gd name="T32" fmla="*/ 91 w 181"/>
                <a:gd name="T33" fmla="*/ 102 h 102"/>
                <a:gd name="T34" fmla="*/ 181 w 181"/>
                <a:gd name="T35" fmla="*/ 74 h 102"/>
                <a:gd name="T36" fmla="*/ 180 w 181"/>
                <a:gd name="T3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 h="102">
                  <a:moveTo>
                    <a:pt x="180" y="59"/>
                  </a:moveTo>
                  <a:cubicBezTo>
                    <a:pt x="172" y="15"/>
                    <a:pt x="169" y="12"/>
                    <a:pt x="131" y="2"/>
                  </a:cubicBezTo>
                  <a:cubicBezTo>
                    <a:pt x="130" y="1"/>
                    <a:pt x="129" y="1"/>
                    <a:pt x="128" y="1"/>
                  </a:cubicBezTo>
                  <a:cubicBezTo>
                    <a:pt x="125" y="0"/>
                    <a:pt x="121" y="1"/>
                    <a:pt x="121" y="1"/>
                  </a:cubicBezTo>
                  <a:cubicBezTo>
                    <a:pt x="118" y="15"/>
                    <a:pt x="98" y="43"/>
                    <a:pt x="92" y="51"/>
                  </a:cubicBezTo>
                  <a:cubicBezTo>
                    <a:pt x="92" y="51"/>
                    <a:pt x="91" y="51"/>
                    <a:pt x="91" y="51"/>
                  </a:cubicBezTo>
                  <a:cubicBezTo>
                    <a:pt x="91" y="51"/>
                    <a:pt x="91" y="51"/>
                    <a:pt x="91" y="51"/>
                  </a:cubicBezTo>
                  <a:cubicBezTo>
                    <a:pt x="91" y="51"/>
                    <a:pt x="91" y="51"/>
                    <a:pt x="91" y="51"/>
                  </a:cubicBezTo>
                  <a:cubicBezTo>
                    <a:pt x="90" y="51"/>
                    <a:pt x="90" y="51"/>
                    <a:pt x="89" y="51"/>
                  </a:cubicBezTo>
                  <a:cubicBezTo>
                    <a:pt x="84" y="43"/>
                    <a:pt x="64" y="15"/>
                    <a:pt x="60" y="1"/>
                  </a:cubicBezTo>
                  <a:cubicBezTo>
                    <a:pt x="60" y="1"/>
                    <a:pt x="57" y="0"/>
                    <a:pt x="54" y="1"/>
                  </a:cubicBezTo>
                  <a:cubicBezTo>
                    <a:pt x="53" y="1"/>
                    <a:pt x="52" y="1"/>
                    <a:pt x="51" y="2"/>
                  </a:cubicBezTo>
                  <a:cubicBezTo>
                    <a:pt x="13" y="12"/>
                    <a:pt x="10" y="15"/>
                    <a:pt x="2" y="59"/>
                  </a:cubicBezTo>
                  <a:cubicBezTo>
                    <a:pt x="0" y="70"/>
                    <a:pt x="1" y="72"/>
                    <a:pt x="1" y="74"/>
                  </a:cubicBezTo>
                  <a:cubicBezTo>
                    <a:pt x="2" y="91"/>
                    <a:pt x="42" y="102"/>
                    <a:pt x="91" y="102"/>
                  </a:cubicBezTo>
                  <a:cubicBezTo>
                    <a:pt x="91" y="102"/>
                    <a:pt x="91" y="102"/>
                    <a:pt x="91" y="102"/>
                  </a:cubicBezTo>
                  <a:cubicBezTo>
                    <a:pt x="91" y="102"/>
                    <a:pt x="91" y="102"/>
                    <a:pt x="91" y="102"/>
                  </a:cubicBezTo>
                  <a:cubicBezTo>
                    <a:pt x="140" y="102"/>
                    <a:pt x="179" y="91"/>
                    <a:pt x="181" y="74"/>
                  </a:cubicBezTo>
                  <a:cubicBezTo>
                    <a:pt x="181" y="72"/>
                    <a:pt x="181" y="70"/>
                    <a:pt x="18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1" name="Freeform 19"/>
            <p:cNvSpPr>
              <a:spLocks/>
            </p:cNvSpPr>
            <p:nvPr/>
          </p:nvSpPr>
          <p:spPr bwMode="auto">
            <a:xfrm>
              <a:off x="6294438" y="2468563"/>
              <a:ext cx="650875" cy="427038"/>
            </a:xfrm>
            <a:custGeom>
              <a:avLst/>
              <a:gdLst>
                <a:gd name="T0" fmla="*/ 29 w 181"/>
                <a:gd name="T1" fmla="*/ 52 h 119"/>
                <a:gd name="T2" fmla="*/ 29 w 181"/>
                <a:gd name="T3" fmla="*/ 50 h 119"/>
                <a:gd name="T4" fmla="*/ 79 w 181"/>
                <a:gd name="T5" fmla="*/ 0 h 119"/>
                <a:gd name="T6" fmla="*/ 120 w 181"/>
                <a:gd name="T7" fmla="*/ 22 h 119"/>
                <a:gd name="T8" fmla="*/ 134 w 181"/>
                <a:gd name="T9" fmla="*/ 19 h 119"/>
                <a:gd name="T10" fmla="*/ 163 w 181"/>
                <a:gd name="T11" fmla="*/ 47 h 119"/>
                <a:gd name="T12" fmla="*/ 181 w 181"/>
                <a:gd name="T13" fmla="*/ 80 h 119"/>
                <a:gd name="T14" fmla="*/ 146 w 181"/>
                <a:gd name="T15" fmla="*/ 119 h 119"/>
                <a:gd name="T16" fmla="*/ 146 w 181"/>
                <a:gd name="T17" fmla="*/ 119 h 119"/>
                <a:gd name="T18" fmla="*/ 146 w 181"/>
                <a:gd name="T19" fmla="*/ 119 h 119"/>
                <a:gd name="T20" fmla="*/ 34 w 181"/>
                <a:gd name="T21" fmla="*/ 119 h 119"/>
                <a:gd name="T22" fmla="*/ 34 w 181"/>
                <a:gd name="T23" fmla="*/ 119 h 119"/>
                <a:gd name="T24" fmla="*/ 0 w 181"/>
                <a:gd name="T25" fmla="*/ 85 h 119"/>
                <a:gd name="T26" fmla="*/ 29 w 181"/>
                <a:gd name="T27" fmla="*/ 5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19">
                  <a:moveTo>
                    <a:pt x="29" y="52"/>
                  </a:moveTo>
                  <a:cubicBezTo>
                    <a:pt x="29" y="51"/>
                    <a:pt x="29" y="51"/>
                    <a:pt x="29" y="50"/>
                  </a:cubicBezTo>
                  <a:cubicBezTo>
                    <a:pt x="29" y="23"/>
                    <a:pt x="51" y="0"/>
                    <a:pt x="79" y="0"/>
                  </a:cubicBezTo>
                  <a:cubicBezTo>
                    <a:pt x="96" y="0"/>
                    <a:pt x="111" y="9"/>
                    <a:pt x="120" y="22"/>
                  </a:cubicBezTo>
                  <a:cubicBezTo>
                    <a:pt x="124" y="20"/>
                    <a:pt x="129" y="19"/>
                    <a:pt x="134" y="19"/>
                  </a:cubicBezTo>
                  <a:cubicBezTo>
                    <a:pt x="150" y="19"/>
                    <a:pt x="163" y="31"/>
                    <a:pt x="163" y="47"/>
                  </a:cubicBezTo>
                  <a:cubicBezTo>
                    <a:pt x="174" y="54"/>
                    <a:pt x="181" y="66"/>
                    <a:pt x="181" y="80"/>
                  </a:cubicBezTo>
                  <a:cubicBezTo>
                    <a:pt x="181" y="100"/>
                    <a:pt x="166" y="117"/>
                    <a:pt x="146" y="119"/>
                  </a:cubicBezTo>
                  <a:cubicBezTo>
                    <a:pt x="146" y="119"/>
                    <a:pt x="146" y="119"/>
                    <a:pt x="146" y="119"/>
                  </a:cubicBezTo>
                  <a:cubicBezTo>
                    <a:pt x="146" y="119"/>
                    <a:pt x="146" y="119"/>
                    <a:pt x="146" y="119"/>
                  </a:cubicBezTo>
                  <a:cubicBezTo>
                    <a:pt x="34" y="119"/>
                    <a:pt x="34" y="119"/>
                    <a:pt x="34" y="119"/>
                  </a:cubicBezTo>
                  <a:cubicBezTo>
                    <a:pt x="34" y="119"/>
                    <a:pt x="34" y="119"/>
                    <a:pt x="34" y="119"/>
                  </a:cubicBezTo>
                  <a:cubicBezTo>
                    <a:pt x="15" y="119"/>
                    <a:pt x="0" y="104"/>
                    <a:pt x="0" y="85"/>
                  </a:cubicBezTo>
                  <a:cubicBezTo>
                    <a:pt x="0" y="69"/>
                    <a:pt x="13" y="55"/>
                    <a:pt x="2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2" name="Freeform 20"/>
            <p:cNvSpPr>
              <a:spLocks/>
            </p:cNvSpPr>
            <p:nvPr/>
          </p:nvSpPr>
          <p:spPr bwMode="auto">
            <a:xfrm>
              <a:off x="6518276" y="2597150"/>
              <a:ext cx="207963" cy="252413"/>
            </a:xfrm>
            <a:custGeom>
              <a:avLst/>
              <a:gdLst>
                <a:gd name="T0" fmla="*/ 0 w 131"/>
                <a:gd name="T1" fmla="*/ 127 h 159"/>
                <a:gd name="T2" fmla="*/ 0 w 131"/>
                <a:gd name="T3" fmla="*/ 32 h 159"/>
                <a:gd name="T4" fmla="*/ 83 w 131"/>
                <a:gd name="T5" fmla="*/ 0 h 159"/>
                <a:gd name="T6" fmla="*/ 131 w 131"/>
                <a:gd name="T7" fmla="*/ 16 h 159"/>
                <a:gd name="T8" fmla="*/ 131 w 131"/>
                <a:gd name="T9" fmla="*/ 145 h 159"/>
                <a:gd name="T10" fmla="*/ 83 w 131"/>
                <a:gd name="T11" fmla="*/ 159 h 159"/>
                <a:gd name="T12" fmla="*/ 0 w 131"/>
                <a:gd name="T13" fmla="*/ 127 h 159"/>
                <a:gd name="T14" fmla="*/ 83 w 131"/>
                <a:gd name="T15" fmla="*/ 138 h 159"/>
                <a:gd name="T16" fmla="*/ 83 w 131"/>
                <a:gd name="T17" fmla="*/ 25 h 159"/>
                <a:gd name="T18" fmla="*/ 29 w 131"/>
                <a:gd name="T19" fmla="*/ 39 h 159"/>
                <a:gd name="T20" fmla="*/ 29 w 131"/>
                <a:gd name="T21" fmla="*/ 116 h 159"/>
                <a:gd name="T22" fmla="*/ 0 w 131"/>
                <a:gd name="T23"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59">
                  <a:moveTo>
                    <a:pt x="0" y="127"/>
                  </a:moveTo>
                  <a:lnTo>
                    <a:pt x="0" y="32"/>
                  </a:lnTo>
                  <a:lnTo>
                    <a:pt x="83" y="0"/>
                  </a:lnTo>
                  <a:lnTo>
                    <a:pt x="131" y="16"/>
                  </a:lnTo>
                  <a:lnTo>
                    <a:pt x="131" y="145"/>
                  </a:lnTo>
                  <a:lnTo>
                    <a:pt x="83" y="159"/>
                  </a:lnTo>
                  <a:lnTo>
                    <a:pt x="0" y="127"/>
                  </a:lnTo>
                  <a:lnTo>
                    <a:pt x="83" y="138"/>
                  </a:lnTo>
                  <a:lnTo>
                    <a:pt x="83" y="25"/>
                  </a:lnTo>
                  <a:lnTo>
                    <a:pt x="29" y="39"/>
                  </a:lnTo>
                  <a:lnTo>
                    <a:pt x="29" y="116"/>
                  </a:lnTo>
                  <a:lnTo>
                    <a:pt x="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3" name="Freeform 21"/>
            <p:cNvSpPr>
              <a:spLocks noEditPoints="1"/>
            </p:cNvSpPr>
            <p:nvPr/>
          </p:nvSpPr>
          <p:spPr bwMode="auto">
            <a:xfrm>
              <a:off x="5005388" y="3179763"/>
              <a:ext cx="119063" cy="306388"/>
            </a:xfrm>
            <a:custGeom>
              <a:avLst/>
              <a:gdLst>
                <a:gd name="T0" fmla="*/ 0 w 75"/>
                <a:gd name="T1" fmla="*/ 193 h 193"/>
                <a:gd name="T2" fmla="*/ 75 w 75"/>
                <a:gd name="T3" fmla="*/ 193 h 193"/>
                <a:gd name="T4" fmla="*/ 75 w 75"/>
                <a:gd name="T5" fmla="*/ 0 h 193"/>
                <a:gd name="T6" fmla="*/ 0 w 75"/>
                <a:gd name="T7" fmla="*/ 0 h 193"/>
                <a:gd name="T8" fmla="*/ 0 w 75"/>
                <a:gd name="T9" fmla="*/ 193 h 193"/>
                <a:gd name="T10" fmla="*/ 11 w 75"/>
                <a:gd name="T11" fmla="*/ 11 h 193"/>
                <a:gd name="T12" fmla="*/ 63 w 75"/>
                <a:gd name="T13" fmla="*/ 11 h 193"/>
                <a:gd name="T14" fmla="*/ 63 w 75"/>
                <a:gd name="T15" fmla="*/ 39 h 193"/>
                <a:gd name="T16" fmla="*/ 11 w 75"/>
                <a:gd name="T17" fmla="*/ 39 h 193"/>
                <a:gd name="T18" fmla="*/ 11 w 75"/>
                <a:gd name="T19" fmla="*/ 11 h 193"/>
                <a:gd name="T20" fmla="*/ 11 w 75"/>
                <a:gd name="T21" fmla="*/ 52 h 193"/>
                <a:gd name="T22" fmla="*/ 63 w 75"/>
                <a:gd name="T23" fmla="*/ 52 h 193"/>
                <a:gd name="T24" fmla="*/ 63 w 75"/>
                <a:gd name="T25" fmla="*/ 79 h 193"/>
                <a:gd name="T26" fmla="*/ 11 w 75"/>
                <a:gd name="T27" fmla="*/ 79 h 193"/>
                <a:gd name="T28" fmla="*/ 11 w 75"/>
                <a:gd name="T29" fmla="*/ 52 h 193"/>
                <a:gd name="T30" fmla="*/ 11 w 75"/>
                <a:gd name="T31" fmla="*/ 91 h 193"/>
                <a:gd name="T32" fmla="*/ 63 w 75"/>
                <a:gd name="T33" fmla="*/ 91 h 193"/>
                <a:gd name="T34" fmla="*/ 63 w 75"/>
                <a:gd name="T35" fmla="*/ 120 h 193"/>
                <a:gd name="T36" fmla="*/ 11 w 75"/>
                <a:gd name="T37" fmla="*/ 120 h 193"/>
                <a:gd name="T38" fmla="*/ 11 w 75"/>
                <a:gd name="T39" fmla="*/ 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93">
                  <a:moveTo>
                    <a:pt x="0" y="193"/>
                  </a:moveTo>
                  <a:lnTo>
                    <a:pt x="75" y="193"/>
                  </a:lnTo>
                  <a:lnTo>
                    <a:pt x="75" y="0"/>
                  </a:lnTo>
                  <a:lnTo>
                    <a:pt x="0" y="0"/>
                  </a:lnTo>
                  <a:lnTo>
                    <a:pt x="0" y="193"/>
                  </a:lnTo>
                  <a:close/>
                  <a:moveTo>
                    <a:pt x="11" y="11"/>
                  </a:moveTo>
                  <a:lnTo>
                    <a:pt x="63" y="11"/>
                  </a:lnTo>
                  <a:lnTo>
                    <a:pt x="63" y="39"/>
                  </a:lnTo>
                  <a:lnTo>
                    <a:pt x="11" y="39"/>
                  </a:lnTo>
                  <a:lnTo>
                    <a:pt x="11" y="11"/>
                  </a:lnTo>
                  <a:close/>
                  <a:moveTo>
                    <a:pt x="11" y="52"/>
                  </a:moveTo>
                  <a:lnTo>
                    <a:pt x="63" y="52"/>
                  </a:lnTo>
                  <a:lnTo>
                    <a:pt x="63" y="79"/>
                  </a:lnTo>
                  <a:lnTo>
                    <a:pt x="11" y="79"/>
                  </a:lnTo>
                  <a:lnTo>
                    <a:pt x="11" y="52"/>
                  </a:lnTo>
                  <a:close/>
                  <a:moveTo>
                    <a:pt x="11" y="91"/>
                  </a:moveTo>
                  <a:lnTo>
                    <a:pt x="63" y="91"/>
                  </a:lnTo>
                  <a:lnTo>
                    <a:pt x="63" y="120"/>
                  </a:lnTo>
                  <a:lnTo>
                    <a:pt x="11" y="120"/>
                  </a:lnTo>
                  <a:lnTo>
                    <a:pt x="11"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4" name="Freeform 22"/>
            <p:cNvSpPr>
              <a:spLocks noEditPoints="1"/>
            </p:cNvSpPr>
            <p:nvPr/>
          </p:nvSpPr>
          <p:spPr bwMode="auto">
            <a:xfrm>
              <a:off x="5332413" y="3179763"/>
              <a:ext cx="119063" cy="306388"/>
            </a:xfrm>
            <a:custGeom>
              <a:avLst/>
              <a:gdLst>
                <a:gd name="T0" fmla="*/ 0 w 75"/>
                <a:gd name="T1" fmla="*/ 193 h 193"/>
                <a:gd name="T2" fmla="*/ 75 w 75"/>
                <a:gd name="T3" fmla="*/ 193 h 193"/>
                <a:gd name="T4" fmla="*/ 75 w 75"/>
                <a:gd name="T5" fmla="*/ 0 h 193"/>
                <a:gd name="T6" fmla="*/ 0 w 75"/>
                <a:gd name="T7" fmla="*/ 0 h 193"/>
                <a:gd name="T8" fmla="*/ 0 w 75"/>
                <a:gd name="T9" fmla="*/ 193 h 193"/>
                <a:gd name="T10" fmla="*/ 11 w 75"/>
                <a:gd name="T11" fmla="*/ 11 h 193"/>
                <a:gd name="T12" fmla="*/ 66 w 75"/>
                <a:gd name="T13" fmla="*/ 11 h 193"/>
                <a:gd name="T14" fmla="*/ 66 w 75"/>
                <a:gd name="T15" fmla="*/ 39 h 193"/>
                <a:gd name="T16" fmla="*/ 11 w 75"/>
                <a:gd name="T17" fmla="*/ 39 h 193"/>
                <a:gd name="T18" fmla="*/ 11 w 75"/>
                <a:gd name="T19" fmla="*/ 11 h 193"/>
                <a:gd name="T20" fmla="*/ 11 w 75"/>
                <a:gd name="T21" fmla="*/ 52 h 193"/>
                <a:gd name="T22" fmla="*/ 66 w 75"/>
                <a:gd name="T23" fmla="*/ 52 h 193"/>
                <a:gd name="T24" fmla="*/ 66 w 75"/>
                <a:gd name="T25" fmla="*/ 79 h 193"/>
                <a:gd name="T26" fmla="*/ 11 w 75"/>
                <a:gd name="T27" fmla="*/ 79 h 193"/>
                <a:gd name="T28" fmla="*/ 11 w 75"/>
                <a:gd name="T29" fmla="*/ 52 h 193"/>
                <a:gd name="T30" fmla="*/ 11 w 75"/>
                <a:gd name="T31" fmla="*/ 91 h 193"/>
                <a:gd name="T32" fmla="*/ 66 w 75"/>
                <a:gd name="T33" fmla="*/ 91 h 193"/>
                <a:gd name="T34" fmla="*/ 66 w 75"/>
                <a:gd name="T35" fmla="*/ 120 h 193"/>
                <a:gd name="T36" fmla="*/ 11 w 75"/>
                <a:gd name="T37" fmla="*/ 120 h 193"/>
                <a:gd name="T38" fmla="*/ 11 w 75"/>
                <a:gd name="T39" fmla="*/ 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93">
                  <a:moveTo>
                    <a:pt x="0" y="193"/>
                  </a:moveTo>
                  <a:lnTo>
                    <a:pt x="75" y="193"/>
                  </a:lnTo>
                  <a:lnTo>
                    <a:pt x="75" y="0"/>
                  </a:lnTo>
                  <a:lnTo>
                    <a:pt x="0" y="0"/>
                  </a:lnTo>
                  <a:lnTo>
                    <a:pt x="0" y="193"/>
                  </a:lnTo>
                  <a:close/>
                  <a:moveTo>
                    <a:pt x="11" y="11"/>
                  </a:moveTo>
                  <a:lnTo>
                    <a:pt x="66" y="11"/>
                  </a:lnTo>
                  <a:lnTo>
                    <a:pt x="66" y="39"/>
                  </a:lnTo>
                  <a:lnTo>
                    <a:pt x="11" y="39"/>
                  </a:lnTo>
                  <a:lnTo>
                    <a:pt x="11" y="11"/>
                  </a:lnTo>
                  <a:close/>
                  <a:moveTo>
                    <a:pt x="11" y="52"/>
                  </a:moveTo>
                  <a:lnTo>
                    <a:pt x="66" y="52"/>
                  </a:lnTo>
                  <a:lnTo>
                    <a:pt x="66" y="79"/>
                  </a:lnTo>
                  <a:lnTo>
                    <a:pt x="11" y="79"/>
                  </a:lnTo>
                  <a:lnTo>
                    <a:pt x="11" y="52"/>
                  </a:lnTo>
                  <a:close/>
                  <a:moveTo>
                    <a:pt x="11" y="91"/>
                  </a:moveTo>
                  <a:lnTo>
                    <a:pt x="66" y="91"/>
                  </a:lnTo>
                  <a:lnTo>
                    <a:pt x="66" y="120"/>
                  </a:lnTo>
                  <a:lnTo>
                    <a:pt x="11" y="120"/>
                  </a:lnTo>
                  <a:lnTo>
                    <a:pt x="11"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5" name="Freeform 23"/>
            <p:cNvSpPr>
              <a:spLocks noEditPoints="1"/>
            </p:cNvSpPr>
            <p:nvPr/>
          </p:nvSpPr>
          <p:spPr bwMode="auto">
            <a:xfrm>
              <a:off x="5102226" y="3133725"/>
              <a:ext cx="252413" cy="452438"/>
            </a:xfrm>
            <a:custGeom>
              <a:avLst/>
              <a:gdLst>
                <a:gd name="T0" fmla="*/ 0 w 159"/>
                <a:gd name="T1" fmla="*/ 285 h 285"/>
                <a:gd name="T2" fmla="*/ 159 w 159"/>
                <a:gd name="T3" fmla="*/ 285 h 285"/>
                <a:gd name="T4" fmla="*/ 159 w 159"/>
                <a:gd name="T5" fmla="*/ 0 h 285"/>
                <a:gd name="T6" fmla="*/ 0 w 159"/>
                <a:gd name="T7" fmla="*/ 0 h 285"/>
                <a:gd name="T8" fmla="*/ 0 w 159"/>
                <a:gd name="T9" fmla="*/ 285 h 285"/>
                <a:gd name="T10" fmla="*/ 16 w 159"/>
                <a:gd name="T11" fmla="*/ 18 h 285"/>
                <a:gd name="T12" fmla="*/ 143 w 159"/>
                <a:gd name="T13" fmla="*/ 18 h 285"/>
                <a:gd name="T14" fmla="*/ 143 w 159"/>
                <a:gd name="T15" fmla="*/ 58 h 285"/>
                <a:gd name="T16" fmla="*/ 16 w 159"/>
                <a:gd name="T17" fmla="*/ 58 h 285"/>
                <a:gd name="T18" fmla="*/ 16 w 159"/>
                <a:gd name="T19" fmla="*/ 18 h 285"/>
                <a:gd name="T20" fmla="*/ 16 w 159"/>
                <a:gd name="T21" fmla="*/ 77 h 285"/>
                <a:gd name="T22" fmla="*/ 143 w 159"/>
                <a:gd name="T23" fmla="*/ 77 h 285"/>
                <a:gd name="T24" fmla="*/ 143 w 159"/>
                <a:gd name="T25" fmla="*/ 117 h 285"/>
                <a:gd name="T26" fmla="*/ 16 w 159"/>
                <a:gd name="T27" fmla="*/ 117 h 285"/>
                <a:gd name="T28" fmla="*/ 16 w 159"/>
                <a:gd name="T29" fmla="*/ 77 h 285"/>
                <a:gd name="T30" fmla="*/ 16 w 159"/>
                <a:gd name="T31" fmla="*/ 133 h 285"/>
                <a:gd name="T32" fmla="*/ 143 w 159"/>
                <a:gd name="T33" fmla="*/ 133 h 285"/>
                <a:gd name="T34" fmla="*/ 143 w 159"/>
                <a:gd name="T35" fmla="*/ 174 h 285"/>
                <a:gd name="T36" fmla="*/ 16 w 159"/>
                <a:gd name="T37" fmla="*/ 174 h 285"/>
                <a:gd name="T38" fmla="*/ 16 w 159"/>
                <a:gd name="T39" fmla="*/ 1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285">
                  <a:moveTo>
                    <a:pt x="0" y="285"/>
                  </a:moveTo>
                  <a:lnTo>
                    <a:pt x="159" y="285"/>
                  </a:lnTo>
                  <a:lnTo>
                    <a:pt x="159" y="0"/>
                  </a:lnTo>
                  <a:lnTo>
                    <a:pt x="0" y="0"/>
                  </a:lnTo>
                  <a:lnTo>
                    <a:pt x="0" y="285"/>
                  </a:lnTo>
                  <a:close/>
                  <a:moveTo>
                    <a:pt x="16" y="18"/>
                  </a:moveTo>
                  <a:lnTo>
                    <a:pt x="143" y="18"/>
                  </a:lnTo>
                  <a:lnTo>
                    <a:pt x="143" y="58"/>
                  </a:lnTo>
                  <a:lnTo>
                    <a:pt x="16" y="58"/>
                  </a:lnTo>
                  <a:lnTo>
                    <a:pt x="16" y="18"/>
                  </a:lnTo>
                  <a:close/>
                  <a:moveTo>
                    <a:pt x="16" y="77"/>
                  </a:moveTo>
                  <a:lnTo>
                    <a:pt x="143" y="77"/>
                  </a:lnTo>
                  <a:lnTo>
                    <a:pt x="143" y="117"/>
                  </a:lnTo>
                  <a:lnTo>
                    <a:pt x="16" y="117"/>
                  </a:lnTo>
                  <a:lnTo>
                    <a:pt x="16" y="77"/>
                  </a:lnTo>
                  <a:close/>
                  <a:moveTo>
                    <a:pt x="16" y="133"/>
                  </a:moveTo>
                  <a:lnTo>
                    <a:pt x="143" y="133"/>
                  </a:lnTo>
                  <a:lnTo>
                    <a:pt x="143" y="174"/>
                  </a:lnTo>
                  <a:lnTo>
                    <a:pt x="16" y="174"/>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6" name="Freeform 24"/>
            <p:cNvSpPr>
              <a:spLocks/>
            </p:cNvSpPr>
            <p:nvPr/>
          </p:nvSpPr>
          <p:spPr bwMode="auto">
            <a:xfrm>
              <a:off x="5087938" y="2266950"/>
              <a:ext cx="1254125" cy="812800"/>
            </a:xfrm>
            <a:custGeom>
              <a:avLst/>
              <a:gdLst>
                <a:gd name="T0" fmla="*/ 44 w 349"/>
                <a:gd name="T1" fmla="*/ 226 h 226"/>
                <a:gd name="T2" fmla="*/ 44 w 349"/>
                <a:gd name="T3" fmla="*/ 213 h 226"/>
                <a:gd name="T4" fmla="*/ 212 w 349"/>
                <a:gd name="T5" fmla="*/ 44 h 226"/>
                <a:gd name="T6" fmla="*/ 321 w 349"/>
                <a:gd name="T7" fmla="*/ 84 h 226"/>
                <a:gd name="T8" fmla="*/ 349 w 349"/>
                <a:gd name="T9" fmla="*/ 51 h 226"/>
                <a:gd name="T10" fmla="*/ 212 w 349"/>
                <a:gd name="T11" fmla="*/ 0 h 226"/>
                <a:gd name="T12" fmla="*/ 0 w 349"/>
                <a:gd name="T13" fmla="*/ 213 h 226"/>
                <a:gd name="T14" fmla="*/ 0 w 349"/>
                <a:gd name="T15" fmla="*/ 226 h 226"/>
                <a:gd name="T16" fmla="*/ 44 w 349"/>
                <a:gd name="T17"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226">
                  <a:moveTo>
                    <a:pt x="44" y="226"/>
                  </a:moveTo>
                  <a:cubicBezTo>
                    <a:pt x="44" y="222"/>
                    <a:pt x="44" y="217"/>
                    <a:pt x="44" y="213"/>
                  </a:cubicBezTo>
                  <a:cubicBezTo>
                    <a:pt x="44" y="120"/>
                    <a:pt x="119" y="44"/>
                    <a:pt x="212" y="44"/>
                  </a:cubicBezTo>
                  <a:cubicBezTo>
                    <a:pt x="254" y="44"/>
                    <a:pt x="292" y="59"/>
                    <a:pt x="321" y="84"/>
                  </a:cubicBezTo>
                  <a:cubicBezTo>
                    <a:pt x="326" y="70"/>
                    <a:pt x="336" y="58"/>
                    <a:pt x="349" y="51"/>
                  </a:cubicBezTo>
                  <a:cubicBezTo>
                    <a:pt x="312" y="19"/>
                    <a:pt x="264" y="0"/>
                    <a:pt x="212" y="0"/>
                  </a:cubicBezTo>
                  <a:cubicBezTo>
                    <a:pt x="95" y="0"/>
                    <a:pt x="0" y="95"/>
                    <a:pt x="0" y="213"/>
                  </a:cubicBezTo>
                  <a:cubicBezTo>
                    <a:pt x="0" y="217"/>
                    <a:pt x="0" y="222"/>
                    <a:pt x="0" y="226"/>
                  </a:cubicBezTo>
                  <a:lnTo>
                    <a:pt x="44"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7" name="Freeform 25"/>
            <p:cNvSpPr>
              <a:spLocks/>
            </p:cNvSpPr>
            <p:nvPr/>
          </p:nvSpPr>
          <p:spPr bwMode="auto">
            <a:xfrm>
              <a:off x="5461001" y="2949575"/>
              <a:ext cx="1154113" cy="844550"/>
            </a:xfrm>
            <a:custGeom>
              <a:avLst/>
              <a:gdLst>
                <a:gd name="T0" fmla="*/ 319 w 321"/>
                <a:gd name="T1" fmla="*/ 0 h 235"/>
                <a:gd name="T2" fmla="*/ 275 w 321"/>
                <a:gd name="T3" fmla="*/ 0 h 235"/>
                <a:gd name="T4" fmla="*/ 277 w 321"/>
                <a:gd name="T5" fmla="*/ 23 h 235"/>
                <a:gd name="T6" fmla="*/ 108 w 321"/>
                <a:gd name="T7" fmla="*/ 191 h 235"/>
                <a:gd name="T8" fmla="*/ 25 w 321"/>
                <a:gd name="T9" fmla="*/ 169 h 235"/>
                <a:gd name="T10" fmla="*/ 0 w 321"/>
                <a:gd name="T11" fmla="*/ 206 h 235"/>
                <a:gd name="T12" fmla="*/ 108 w 321"/>
                <a:gd name="T13" fmla="*/ 235 h 235"/>
                <a:gd name="T14" fmla="*/ 321 w 321"/>
                <a:gd name="T15" fmla="*/ 23 h 235"/>
                <a:gd name="T16" fmla="*/ 319 w 321"/>
                <a:gd name="T1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1" h="235">
                  <a:moveTo>
                    <a:pt x="319" y="0"/>
                  </a:moveTo>
                  <a:cubicBezTo>
                    <a:pt x="275" y="0"/>
                    <a:pt x="275" y="0"/>
                    <a:pt x="275" y="0"/>
                  </a:cubicBezTo>
                  <a:cubicBezTo>
                    <a:pt x="276" y="7"/>
                    <a:pt x="277" y="15"/>
                    <a:pt x="277" y="23"/>
                  </a:cubicBezTo>
                  <a:cubicBezTo>
                    <a:pt x="277" y="116"/>
                    <a:pt x="201" y="191"/>
                    <a:pt x="108" y="191"/>
                  </a:cubicBezTo>
                  <a:cubicBezTo>
                    <a:pt x="78" y="191"/>
                    <a:pt x="50" y="183"/>
                    <a:pt x="25" y="169"/>
                  </a:cubicBezTo>
                  <a:cubicBezTo>
                    <a:pt x="0" y="206"/>
                    <a:pt x="0" y="206"/>
                    <a:pt x="0" y="206"/>
                  </a:cubicBezTo>
                  <a:cubicBezTo>
                    <a:pt x="32" y="224"/>
                    <a:pt x="69" y="235"/>
                    <a:pt x="108" y="235"/>
                  </a:cubicBezTo>
                  <a:cubicBezTo>
                    <a:pt x="225" y="235"/>
                    <a:pt x="321" y="140"/>
                    <a:pt x="321" y="23"/>
                  </a:cubicBezTo>
                  <a:cubicBezTo>
                    <a:pt x="321" y="15"/>
                    <a:pt x="320" y="7"/>
                    <a:pt x="3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8" name="Freeform 26"/>
            <p:cNvSpPr>
              <a:spLocks/>
            </p:cNvSpPr>
            <p:nvPr/>
          </p:nvSpPr>
          <p:spPr bwMode="auto">
            <a:xfrm>
              <a:off x="6180138" y="2389188"/>
              <a:ext cx="201613" cy="207963"/>
            </a:xfrm>
            <a:custGeom>
              <a:avLst/>
              <a:gdLst>
                <a:gd name="T0" fmla="*/ 122 w 127"/>
                <a:gd name="T1" fmla="*/ 0 h 131"/>
                <a:gd name="T2" fmla="*/ 127 w 127"/>
                <a:gd name="T3" fmla="*/ 127 h 131"/>
                <a:gd name="T4" fmla="*/ 0 w 127"/>
                <a:gd name="T5" fmla="*/ 131 h 131"/>
                <a:gd name="T6" fmla="*/ 122 w 127"/>
                <a:gd name="T7" fmla="*/ 0 h 131"/>
              </a:gdLst>
              <a:ahLst/>
              <a:cxnLst>
                <a:cxn ang="0">
                  <a:pos x="T0" y="T1"/>
                </a:cxn>
                <a:cxn ang="0">
                  <a:pos x="T2" y="T3"/>
                </a:cxn>
                <a:cxn ang="0">
                  <a:pos x="T4" y="T5"/>
                </a:cxn>
                <a:cxn ang="0">
                  <a:pos x="T6" y="T7"/>
                </a:cxn>
              </a:cxnLst>
              <a:rect l="0" t="0" r="r" b="b"/>
              <a:pathLst>
                <a:path w="127" h="131">
                  <a:moveTo>
                    <a:pt x="122" y="0"/>
                  </a:moveTo>
                  <a:lnTo>
                    <a:pt x="127" y="127"/>
                  </a:lnTo>
                  <a:lnTo>
                    <a:pt x="0" y="131"/>
                  </a:lnTo>
                  <a:lnTo>
                    <a:pt x="1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99" name="Freeform 27"/>
            <p:cNvSpPr>
              <a:spLocks/>
            </p:cNvSpPr>
            <p:nvPr/>
          </p:nvSpPr>
          <p:spPr bwMode="auto">
            <a:xfrm>
              <a:off x="5386388" y="3506788"/>
              <a:ext cx="201613" cy="238125"/>
            </a:xfrm>
            <a:custGeom>
              <a:avLst/>
              <a:gdLst>
                <a:gd name="T0" fmla="*/ 25 w 127"/>
                <a:gd name="T1" fmla="*/ 150 h 150"/>
                <a:gd name="T2" fmla="*/ 0 w 127"/>
                <a:gd name="T3" fmla="*/ 23 h 150"/>
                <a:gd name="T4" fmla="*/ 127 w 127"/>
                <a:gd name="T5" fmla="*/ 0 h 150"/>
                <a:gd name="T6" fmla="*/ 25 w 127"/>
                <a:gd name="T7" fmla="*/ 150 h 150"/>
              </a:gdLst>
              <a:ahLst/>
              <a:cxnLst>
                <a:cxn ang="0">
                  <a:pos x="T0" y="T1"/>
                </a:cxn>
                <a:cxn ang="0">
                  <a:pos x="T2" y="T3"/>
                </a:cxn>
                <a:cxn ang="0">
                  <a:pos x="T4" y="T5"/>
                </a:cxn>
                <a:cxn ang="0">
                  <a:pos x="T6" y="T7"/>
                </a:cxn>
              </a:cxnLst>
              <a:rect l="0" t="0" r="r" b="b"/>
              <a:pathLst>
                <a:path w="127" h="150">
                  <a:moveTo>
                    <a:pt x="25" y="150"/>
                  </a:moveTo>
                  <a:lnTo>
                    <a:pt x="0" y="23"/>
                  </a:lnTo>
                  <a:lnTo>
                    <a:pt x="127" y="0"/>
                  </a:lnTo>
                  <a:lnTo>
                    <a:pt x="2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sp>
        <p:nvSpPr>
          <p:cNvPr id="100" name="Freeform 31"/>
          <p:cNvSpPr>
            <a:spLocks noChangeAspect="1" noEditPoints="1"/>
          </p:cNvSpPr>
          <p:nvPr/>
        </p:nvSpPr>
        <p:spPr bwMode="auto">
          <a:xfrm>
            <a:off x="8020346" y="6046746"/>
            <a:ext cx="517452" cy="771416"/>
          </a:xfrm>
          <a:custGeom>
            <a:avLst/>
            <a:gdLst>
              <a:gd name="T0" fmla="*/ 255 w 284"/>
              <a:gd name="T1" fmla="*/ 183 h 425"/>
              <a:gd name="T2" fmla="*/ 255 w 284"/>
              <a:gd name="T3" fmla="*/ 112 h 425"/>
              <a:gd name="T4" fmla="*/ 142 w 284"/>
              <a:gd name="T5" fmla="*/ 0 h 425"/>
              <a:gd name="T6" fmla="*/ 29 w 284"/>
              <a:gd name="T7" fmla="*/ 112 h 425"/>
              <a:gd name="T8" fmla="*/ 29 w 284"/>
              <a:gd name="T9" fmla="*/ 183 h 425"/>
              <a:gd name="T10" fmla="*/ 0 w 284"/>
              <a:gd name="T11" fmla="*/ 183 h 425"/>
              <a:gd name="T12" fmla="*/ 0 w 284"/>
              <a:gd name="T13" fmla="*/ 286 h 425"/>
              <a:gd name="T14" fmla="*/ 142 w 284"/>
              <a:gd name="T15" fmla="*/ 425 h 425"/>
              <a:gd name="T16" fmla="*/ 149 w 284"/>
              <a:gd name="T17" fmla="*/ 425 h 425"/>
              <a:gd name="T18" fmla="*/ 175 w 284"/>
              <a:gd name="T19" fmla="*/ 421 h 425"/>
              <a:gd name="T20" fmla="*/ 284 w 284"/>
              <a:gd name="T21" fmla="*/ 286 h 425"/>
              <a:gd name="T22" fmla="*/ 284 w 284"/>
              <a:gd name="T23" fmla="*/ 183 h 425"/>
              <a:gd name="T24" fmla="*/ 255 w 284"/>
              <a:gd name="T25" fmla="*/ 183 h 425"/>
              <a:gd name="T26" fmla="*/ 255 w 284"/>
              <a:gd name="T27" fmla="*/ 183 h 425"/>
              <a:gd name="T28" fmla="*/ 165 w 284"/>
              <a:gd name="T29" fmla="*/ 272 h 425"/>
              <a:gd name="T30" fmla="*/ 156 w 284"/>
              <a:gd name="T31" fmla="*/ 277 h 425"/>
              <a:gd name="T32" fmla="*/ 168 w 284"/>
              <a:gd name="T33" fmla="*/ 346 h 425"/>
              <a:gd name="T34" fmla="*/ 153 w 284"/>
              <a:gd name="T35" fmla="*/ 346 h 425"/>
              <a:gd name="T36" fmla="*/ 116 w 284"/>
              <a:gd name="T37" fmla="*/ 344 h 425"/>
              <a:gd name="T38" fmla="*/ 127 w 284"/>
              <a:gd name="T39" fmla="*/ 277 h 425"/>
              <a:gd name="T40" fmla="*/ 107 w 284"/>
              <a:gd name="T41" fmla="*/ 244 h 425"/>
              <a:gd name="T42" fmla="*/ 114 w 284"/>
              <a:gd name="T43" fmla="*/ 223 h 425"/>
              <a:gd name="T44" fmla="*/ 136 w 284"/>
              <a:gd name="T45" fmla="*/ 210 h 425"/>
              <a:gd name="T46" fmla="*/ 143 w 284"/>
              <a:gd name="T47" fmla="*/ 210 h 425"/>
              <a:gd name="T48" fmla="*/ 178 w 284"/>
              <a:gd name="T49" fmla="*/ 245 h 425"/>
              <a:gd name="T50" fmla="*/ 165 w 284"/>
              <a:gd name="T51" fmla="*/ 272 h 425"/>
              <a:gd name="T52" fmla="*/ 209 w 284"/>
              <a:gd name="T53" fmla="*/ 169 h 425"/>
              <a:gd name="T54" fmla="*/ 75 w 284"/>
              <a:gd name="T55" fmla="*/ 169 h 425"/>
              <a:gd name="T56" fmla="*/ 75 w 284"/>
              <a:gd name="T57" fmla="*/ 100 h 425"/>
              <a:gd name="T58" fmla="*/ 142 w 284"/>
              <a:gd name="T59" fmla="*/ 33 h 425"/>
              <a:gd name="T60" fmla="*/ 209 w 284"/>
              <a:gd name="T61" fmla="*/ 100 h 425"/>
              <a:gd name="T62" fmla="*/ 209 w 284"/>
              <a:gd name="T63" fmla="*/ 169 h 425"/>
              <a:gd name="T64" fmla="*/ 209 w 284"/>
              <a:gd name="T65" fmla="*/ 16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4" h="425">
                <a:moveTo>
                  <a:pt x="255" y="183"/>
                </a:moveTo>
                <a:cubicBezTo>
                  <a:pt x="255" y="112"/>
                  <a:pt x="255" y="112"/>
                  <a:pt x="255" y="112"/>
                </a:cubicBezTo>
                <a:cubicBezTo>
                  <a:pt x="255" y="50"/>
                  <a:pt x="205" y="0"/>
                  <a:pt x="142" y="0"/>
                </a:cubicBezTo>
                <a:cubicBezTo>
                  <a:pt x="80" y="0"/>
                  <a:pt x="29" y="50"/>
                  <a:pt x="29" y="112"/>
                </a:cubicBezTo>
                <a:cubicBezTo>
                  <a:pt x="29" y="183"/>
                  <a:pt x="29" y="183"/>
                  <a:pt x="29" y="183"/>
                </a:cubicBezTo>
                <a:cubicBezTo>
                  <a:pt x="0" y="183"/>
                  <a:pt x="0" y="183"/>
                  <a:pt x="0" y="183"/>
                </a:cubicBezTo>
                <a:cubicBezTo>
                  <a:pt x="0" y="286"/>
                  <a:pt x="0" y="286"/>
                  <a:pt x="0" y="286"/>
                </a:cubicBezTo>
                <a:cubicBezTo>
                  <a:pt x="0" y="363"/>
                  <a:pt x="64" y="425"/>
                  <a:pt x="142" y="425"/>
                </a:cubicBezTo>
                <a:cubicBezTo>
                  <a:pt x="144" y="425"/>
                  <a:pt x="146" y="425"/>
                  <a:pt x="149" y="425"/>
                </a:cubicBezTo>
                <a:cubicBezTo>
                  <a:pt x="157" y="424"/>
                  <a:pt x="166" y="422"/>
                  <a:pt x="175" y="421"/>
                </a:cubicBezTo>
                <a:cubicBezTo>
                  <a:pt x="237" y="407"/>
                  <a:pt x="284" y="352"/>
                  <a:pt x="284" y="286"/>
                </a:cubicBezTo>
                <a:cubicBezTo>
                  <a:pt x="284" y="183"/>
                  <a:pt x="284" y="183"/>
                  <a:pt x="284" y="183"/>
                </a:cubicBezTo>
                <a:cubicBezTo>
                  <a:pt x="255" y="183"/>
                  <a:pt x="255" y="183"/>
                  <a:pt x="255" y="183"/>
                </a:cubicBezTo>
                <a:cubicBezTo>
                  <a:pt x="255" y="183"/>
                  <a:pt x="255" y="183"/>
                  <a:pt x="255" y="183"/>
                </a:cubicBezTo>
                <a:close/>
                <a:moveTo>
                  <a:pt x="165" y="272"/>
                </a:moveTo>
                <a:cubicBezTo>
                  <a:pt x="162" y="274"/>
                  <a:pt x="159" y="275"/>
                  <a:pt x="156" y="277"/>
                </a:cubicBezTo>
                <a:cubicBezTo>
                  <a:pt x="168" y="346"/>
                  <a:pt x="168" y="346"/>
                  <a:pt x="168" y="346"/>
                </a:cubicBezTo>
                <a:cubicBezTo>
                  <a:pt x="153" y="346"/>
                  <a:pt x="153" y="346"/>
                  <a:pt x="153" y="346"/>
                </a:cubicBezTo>
                <a:cubicBezTo>
                  <a:pt x="116" y="344"/>
                  <a:pt x="116" y="344"/>
                  <a:pt x="116" y="344"/>
                </a:cubicBezTo>
                <a:cubicBezTo>
                  <a:pt x="127" y="277"/>
                  <a:pt x="127" y="277"/>
                  <a:pt x="127" y="277"/>
                </a:cubicBezTo>
                <a:cubicBezTo>
                  <a:pt x="114" y="271"/>
                  <a:pt x="107" y="258"/>
                  <a:pt x="107" y="244"/>
                </a:cubicBezTo>
                <a:cubicBezTo>
                  <a:pt x="107" y="237"/>
                  <a:pt x="110" y="228"/>
                  <a:pt x="114" y="223"/>
                </a:cubicBezTo>
                <a:cubicBezTo>
                  <a:pt x="120" y="216"/>
                  <a:pt x="127" y="211"/>
                  <a:pt x="136" y="210"/>
                </a:cubicBezTo>
                <a:cubicBezTo>
                  <a:pt x="139" y="210"/>
                  <a:pt x="140" y="210"/>
                  <a:pt x="143" y="210"/>
                </a:cubicBezTo>
                <a:cubicBezTo>
                  <a:pt x="162" y="210"/>
                  <a:pt x="178" y="226"/>
                  <a:pt x="178" y="245"/>
                </a:cubicBezTo>
                <a:cubicBezTo>
                  <a:pt x="178" y="255"/>
                  <a:pt x="173" y="265"/>
                  <a:pt x="165" y="272"/>
                </a:cubicBezTo>
                <a:close/>
                <a:moveTo>
                  <a:pt x="209" y="169"/>
                </a:moveTo>
                <a:cubicBezTo>
                  <a:pt x="75" y="169"/>
                  <a:pt x="75" y="169"/>
                  <a:pt x="75" y="169"/>
                </a:cubicBezTo>
                <a:cubicBezTo>
                  <a:pt x="75" y="100"/>
                  <a:pt x="75" y="100"/>
                  <a:pt x="75" y="100"/>
                </a:cubicBezTo>
                <a:cubicBezTo>
                  <a:pt x="75" y="63"/>
                  <a:pt x="106" y="33"/>
                  <a:pt x="142" y="33"/>
                </a:cubicBezTo>
                <a:cubicBezTo>
                  <a:pt x="179" y="33"/>
                  <a:pt x="209" y="63"/>
                  <a:pt x="209" y="100"/>
                </a:cubicBezTo>
                <a:cubicBezTo>
                  <a:pt x="209" y="169"/>
                  <a:pt x="209" y="169"/>
                  <a:pt x="209" y="169"/>
                </a:cubicBezTo>
                <a:cubicBezTo>
                  <a:pt x="209" y="169"/>
                  <a:pt x="209" y="169"/>
                  <a:pt x="209" y="169"/>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101" name="Freeform 100"/>
          <p:cNvSpPr>
            <a:spLocks/>
          </p:cNvSpPr>
          <p:nvPr/>
        </p:nvSpPr>
        <p:spPr bwMode="auto">
          <a:xfrm>
            <a:off x="5869964" y="2703217"/>
            <a:ext cx="3234668" cy="1034004"/>
          </a:xfrm>
          <a:custGeom>
            <a:avLst/>
            <a:gdLst>
              <a:gd name="T0" fmla="*/ 0 w 2857"/>
              <a:gd name="T1" fmla="*/ 892 h 892"/>
              <a:gd name="T2" fmla="*/ 1435 w 2857"/>
              <a:gd name="T3" fmla="*/ 0 h 892"/>
              <a:gd name="T4" fmla="*/ 2857 w 2857"/>
              <a:gd name="T5" fmla="*/ 879 h 892"/>
            </a:gdLst>
            <a:ahLst/>
            <a:cxnLst>
              <a:cxn ang="0">
                <a:pos x="T0" y="T1"/>
              </a:cxn>
              <a:cxn ang="0">
                <a:pos x="T2" y="T3"/>
              </a:cxn>
              <a:cxn ang="0">
                <a:pos x="T4" y="T5"/>
              </a:cxn>
            </a:cxnLst>
            <a:rect l="0" t="0" r="r" b="b"/>
            <a:pathLst>
              <a:path w="2857" h="892">
                <a:moveTo>
                  <a:pt x="0" y="892"/>
                </a:moveTo>
                <a:lnTo>
                  <a:pt x="1435" y="0"/>
                </a:lnTo>
                <a:lnTo>
                  <a:pt x="2857" y="879"/>
                </a:lnTo>
              </a:path>
            </a:pathLst>
          </a:custGeom>
          <a:noFill/>
          <a:ln w="223838"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grpSp>
        <p:nvGrpSpPr>
          <p:cNvPr id="102" name="Group 101"/>
          <p:cNvGrpSpPr/>
          <p:nvPr/>
        </p:nvGrpSpPr>
        <p:grpSpPr>
          <a:xfrm>
            <a:off x="6954249" y="2155794"/>
            <a:ext cx="1066098" cy="1064424"/>
            <a:chOff x="7844202" y="1456041"/>
            <a:chExt cx="1681265" cy="1678626"/>
          </a:xfrm>
        </p:grpSpPr>
        <p:sp>
          <p:nvSpPr>
            <p:cNvPr id="103" name="Freeform 15"/>
            <p:cNvSpPr>
              <a:spLocks/>
            </p:cNvSpPr>
            <p:nvPr/>
          </p:nvSpPr>
          <p:spPr bwMode="auto">
            <a:xfrm>
              <a:off x="7844202" y="1456041"/>
              <a:ext cx="1681265" cy="1678626"/>
            </a:xfrm>
            <a:custGeom>
              <a:avLst/>
              <a:gdLst>
                <a:gd name="T0" fmla="*/ 407 w 814"/>
                <a:gd name="T1" fmla="*/ 0 h 812"/>
                <a:gd name="T2" fmla="*/ 0 w 814"/>
                <a:gd name="T3" fmla="*/ 405 h 812"/>
                <a:gd name="T4" fmla="*/ 407 w 814"/>
                <a:gd name="T5" fmla="*/ 812 h 812"/>
                <a:gd name="T6" fmla="*/ 814 w 814"/>
                <a:gd name="T7" fmla="*/ 405 h 812"/>
                <a:gd name="T8" fmla="*/ 407 w 814"/>
                <a:gd name="T9" fmla="*/ 0 h 812"/>
              </a:gdLst>
              <a:ahLst/>
              <a:cxnLst>
                <a:cxn ang="0">
                  <a:pos x="T0" y="T1"/>
                </a:cxn>
                <a:cxn ang="0">
                  <a:pos x="T2" y="T3"/>
                </a:cxn>
                <a:cxn ang="0">
                  <a:pos x="T4" y="T5"/>
                </a:cxn>
                <a:cxn ang="0">
                  <a:pos x="T6" y="T7"/>
                </a:cxn>
                <a:cxn ang="0">
                  <a:pos x="T8" y="T9"/>
                </a:cxn>
              </a:cxnLst>
              <a:rect l="0" t="0" r="r" b="b"/>
              <a:pathLst>
                <a:path w="814" h="812">
                  <a:moveTo>
                    <a:pt x="407" y="0"/>
                  </a:moveTo>
                  <a:cubicBezTo>
                    <a:pt x="183" y="0"/>
                    <a:pt x="0" y="182"/>
                    <a:pt x="0" y="405"/>
                  </a:cubicBezTo>
                  <a:cubicBezTo>
                    <a:pt x="0" y="632"/>
                    <a:pt x="183" y="812"/>
                    <a:pt x="407" y="812"/>
                  </a:cubicBezTo>
                  <a:cubicBezTo>
                    <a:pt x="629" y="812"/>
                    <a:pt x="814" y="632"/>
                    <a:pt x="814" y="405"/>
                  </a:cubicBezTo>
                  <a:cubicBezTo>
                    <a:pt x="814" y="182"/>
                    <a:pt x="629" y="0"/>
                    <a:pt x="407" y="0"/>
                  </a:cubicBezTo>
                </a:path>
              </a:pathLst>
            </a:custGeom>
            <a:solidFill>
              <a:schemeClr val="bg2">
                <a:alpha val="85000"/>
              </a:schemeClr>
            </a:solidFill>
            <a:ln w="34925">
              <a:solidFill>
                <a:schemeClr val="tx1"/>
              </a:solid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pic>
          <p:nvPicPr>
            <p:cNvPr id="104" name="Picture 103"/>
            <p:cNvPicPr>
              <a:picLocks noChangeAspect="1"/>
            </p:cNvPicPr>
            <p:nvPr/>
          </p:nvPicPr>
          <p:blipFill>
            <a:blip r:embed="rId4"/>
            <a:stretch>
              <a:fillRect/>
            </a:stretch>
          </p:blipFill>
          <p:spPr>
            <a:xfrm>
              <a:off x="7985431" y="1715320"/>
              <a:ext cx="1398806" cy="1160068"/>
            </a:xfrm>
            <a:prstGeom prst="rect">
              <a:avLst/>
            </a:prstGeom>
          </p:spPr>
        </p:pic>
      </p:grpSp>
      <p:grpSp>
        <p:nvGrpSpPr>
          <p:cNvPr id="105" name="Group 104"/>
          <p:cNvGrpSpPr/>
          <p:nvPr/>
        </p:nvGrpSpPr>
        <p:grpSpPr>
          <a:xfrm>
            <a:off x="9027433" y="3420602"/>
            <a:ext cx="1066098" cy="1064424"/>
            <a:chOff x="9970182" y="3147681"/>
            <a:chExt cx="1681265" cy="1678626"/>
          </a:xfrm>
        </p:grpSpPr>
        <p:sp>
          <p:nvSpPr>
            <p:cNvPr id="106" name="Freeform 15"/>
            <p:cNvSpPr>
              <a:spLocks/>
            </p:cNvSpPr>
            <p:nvPr/>
          </p:nvSpPr>
          <p:spPr bwMode="auto">
            <a:xfrm>
              <a:off x="9970182" y="3147681"/>
              <a:ext cx="1681265" cy="1678626"/>
            </a:xfrm>
            <a:custGeom>
              <a:avLst/>
              <a:gdLst>
                <a:gd name="T0" fmla="*/ 407 w 814"/>
                <a:gd name="T1" fmla="*/ 0 h 812"/>
                <a:gd name="T2" fmla="*/ 0 w 814"/>
                <a:gd name="T3" fmla="*/ 405 h 812"/>
                <a:gd name="T4" fmla="*/ 407 w 814"/>
                <a:gd name="T5" fmla="*/ 812 h 812"/>
                <a:gd name="T6" fmla="*/ 814 w 814"/>
                <a:gd name="T7" fmla="*/ 405 h 812"/>
                <a:gd name="T8" fmla="*/ 407 w 814"/>
                <a:gd name="T9" fmla="*/ 0 h 812"/>
              </a:gdLst>
              <a:ahLst/>
              <a:cxnLst>
                <a:cxn ang="0">
                  <a:pos x="T0" y="T1"/>
                </a:cxn>
                <a:cxn ang="0">
                  <a:pos x="T2" y="T3"/>
                </a:cxn>
                <a:cxn ang="0">
                  <a:pos x="T4" y="T5"/>
                </a:cxn>
                <a:cxn ang="0">
                  <a:pos x="T6" y="T7"/>
                </a:cxn>
                <a:cxn ang="0">
                  <a:pos x="T8" y="T9"/>
                </a:cxn>
              </a:cxnLst>
              <a:rect l="0" t="0" r="r" b="b"/>
              <a:pathLst>
                <a:path w="814" h="812">
                  <a:moveTo>
                    <a:pt x="407" y="0"/>
                  </a:moveTo>
                  <a:cubicBezTo>
                    <a:pt x="183" y="0"/>
                    <a:pt x="0" y="182"/>
                    <a:pt x="0" y="405"/>
                  </a:cubicBezTo>
                  <a:cubicBezTo>
                    <a:pt x="0" y="632"/>
                    <a:pt x="183" y="812"/>
                    <a:pt x="407" y="812"/>
                  </a:cubicBezTo>
                  <a:cubicBezTo>
                    <a:pt x="629" y="812"/>
                    <a:pt x="814" y="632"/>
                    <a:pt x="814" y="405"/>
                  </a:cubicBezTo>
                  <a:cubicBezTo>
                    <a:pt x="814" y="182"/>
                    <a:pt x="629" y="0"/>
                    <a:pt x="407" y="0"/>
                  </a:cubicBezTo>
                </a:path>
              </a:pathLst>
            </a:custGeom>
            <a:solidFill>
              <a:schemeClr val="bg2">
                <a:alpha val="85000"/>
              </a:schemeClr>
            </a:solidFill>
            <a:ln w="34925">
              <a:solidFill>
                <a:schemeClr val="tx1"/>
              </a:solid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pic>
          <p:nvPicPr>
            <p:cNvPr id="107" name="Picture 106"/>
            <p:cNvPicPr>
              <a:picLocks noChangeAspect="1"/>
            </p:cNvPicPr>
            <p:nvPr/>
          </p:nvPicPr>
          <p:blipFill>
            <a:blip r:embed="rId5"/>
            <a:stretch>
              <a:fillRect/>
            </a:stretch>
          </p:blipFill>
          <p:spPr>
            <a:xfrm>
              <a:off x="10129992" y="3639417"/>
              <a:ext cx="1361644" cy="695155"/>
            </a:xfrm>
            <a:prstGeom prst="rect">
              <a:avLst/>
            </a:prstGeom>
          </p:spPr>
        </p:pic>
      </p:grpSp>
      <p:grpSp>
        <p:nvGrpSpPr>
          <p:cNvPr id="108" name="Group 107"/>
          <p:cNvGrpSpPr/>
          <p:nvPr/>
        </p:nvGrpSpPr>
        <p:grpSpPr>
          <a:xfrm>
            <a:off x="4853067" y="3420602"/>
            <a:ext cx="1066098" cy="1064424"/>
            <a:chOff x="6321354" y="3486708"/>
            <a:chExt cx="1681265" cy="1678626"/>
          </a:xfrm>
        </p:grpSpPr>
        <p:sp>
          <p:nvSpPr>
            <p:cNvPr id="119" name="Freeform 15"/>
            <p:cNvSpPr>
              <a:spLocks/>
            </p:cNvSpPr>
            <p:nvPr/>
          </p:nvSpPr>
          <p:spPr bwMode="auto">
            <a:xfrm>
              <a:off x="6321354" y="3486708"/>
              <a:ext cx="1681265" cy="1678626"/>
            </a:xfrm>
            <a:custGeom>
              <a:avLst/>
              <a:gdLst>
                <a:gd name="T0" fmla="*/ 407 w 814"/>
                <a:gd name="T1" fmla="*/ 0 h 812"/>
                <a:gd name="T2" fmla="*/ 0 w 814"/>
                <a:gd name="T3" fmla="*/ 405 h 812"/>
                <a:gd name="T4" fmla="*/ 407 w 814"/>
                <a:gd name="T5" fmla="*/ 812 h 812"/>
                <a:gd name="T6" fmla="*/ 814 w 814"/>
                <a:gd name="T7" fmla="*/ 405 h 812"/>
                <a:gd name="T8" fmla="*/ 407 w 814"/>
                <a:gd name="T9" fmla="*/ 0 h 812"/>
              </a:gdLst>
              <a:ahLst/>
              <a:cxnLst>
                <a:cxn ang="0">
                  <a:pos x="T0" y="T1"/>
                </a:cxn>
                <a:cxn ang="0">
                  <a:pos x="T2" y="T3"/>
                </a:cxn>
                <a:cxn ang="0">
                  <a:pos x="T4" y="T5"/>
                </a:cxn>
                <a:cxn ang="0">
                  <a:pos x="T6" y="T7"/>
                </a:cxn>
                <a:cxn ang="0">
                  <a:pos x="T8" y="T9"/>
                </a:cxn>
              </a:cxnLst>
              <a:rect l="0" t="0" r="r" b="b"/>
              <a:pathLst>
                <a:path w="814" h="812">
                  <a:moveTo>
                    <a:pt x="407" y="0"/>
                  </a:moveTo>
                  <a:cubicBezTo>
                    <a:pt x="183" y="0"/>
                    <a:pt x="0" y="182"/>
                    <a:pt x="0" y="405"/>
                  </a:cubicBezTo>
                  <a:cubicBezTo>
                    <a:pt x="0" y="632"/>
                    <a:pt x="183" y="812"/>
                    <a:pt x="407" y="812"/>
                  </a:cubicBezTo>
                  <a:cubicBezTo>
                    <a:pt x="629" y="812"/>
                    <a:pt x="814" y="632"/>
                    <a:pt x="814" y="405"/>
                  </a:cubicBezTo>
                  <a:cubicBezTo>
                    <a:pt x="814" y="182"/>
                    <a:pt x="629" y="0"/>
                    <a:pt x="407" y="0"/>
                  </a:cubicBezTo>
                </a:path>
              </a:pathLst>
            </a:custGeom>
            <a:solidFill>
              <a:schemeClr val="bg2">
                <a:alpha val="85000"/>
              </a:schemeClr>
            </a:solidFill>
            <a:ln w="34925">
              <a:solidFill>
                <a:schemeClr val="tx1"/>
              </a:solid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pic>
          <p:nvPicPr>
            <p:cNvPr id="120" name="Picture 119"/>
            <p:cNvPicPr>
              <a:picLocks noChangeAspect="1"/>
            </p:cNvPicPr>
            <p:nvPr/>
          </p:nvPicPr>
          <p:blipFill>
            <a:blip r:embed="rId6"/>
            <a:stretch>
              <a:fillRect/>
            </a:stretch>
          </p:blipFill>
          <p:spPr>
            <a:xfrm>
              <a:off x="6846986" y="3786021"/>
              <a:ext cx="630000" cy="1080000"/>
            </a:xfrm>
            <a:prstGeom prst="rect">
              <a:avLst/>
            </a:prstGeom>
          </p:spPr>
        </p:pic>
      </p:grpSp>
    </p:spTree>
    <p:extLst>
      <p:ext uri="{BB962C8B-B14F-4D97-AF65-F5344CB8AC3E}">
        <p14:creationId xmlns:p14="http://schemas.microsoft.com/office/powerpoint/2010/main" val="3043008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wipe(left)">
                                      <p:cBhvr>
                                        <p:cTn id="7" dur="2500"/>
                                        <p:tgtEl>
                                          <p:spTgt spid="101"/>
                                        </p:tgtEl>
                                      </p:cBhvr>
                                    </p:animEffect>
                                  </p:childTnLst>
                                </p:cTn>
                              </p:par>
                              <p:par>
                                <p:cTn id="8" presetID="10" presetClass="entr" presetSubtype="0" fill="hold" nodeType="withEffect">
                                  <p:stCondLst>
                                    <p:cond delay="0"/>
                                  </p:stCondLst>
                                  <p:childTnLst>
                                    <p:set>
                                      <p:cBhvr>
                                        <p:cTn id="9" dur="1" fill="hold">
                                          <p:stCondLst>
                                            <p:cond delay="0"/>
                                          </p:stCondLst>
                                        </p:cTn>
                                        <p:tgtEl>
                                          <p:spTgt spid="108"/>
                                        </p:tgtEl>
                                        <p:attrNameLst>
                                          <p:attrName>style.visibility</p:attrName>
                                        </p:attrNameLst>
                                      </p:cBhvr>
                                      <p:to>
                                        <p:strVal val="visible"/>
                                      </p:to>
                                    </p:set>
                                    <p:animEffect transition="in" filter="fade">
                                      <p:cBhvr>
                                        <p:cTn id="10" dur="500"/>
                                        <p:tgtEl>
                                          <p:spTgt spid="108"/>
                                        </p:tgtEl>
                                      </p:cBhvr>
                                    </p:animEffect>
                                  </p:childTnLst>
                                </p:cTn>
                              </p:par>
                              <p:par>
                                <p:cTn id="11" presetID="10" presetClass="entr" presetSubtype="0" fill="hold" nodeType="withEffect">
                                  <p:stCondLst>
                                    <p:cond delay="100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200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ph_BAxQEAsZ8ihd9f5g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C007BA7-B7F9-4643-AF15-75FFAC16AF80}" vid="{88E5DF51-71EE-4525-940F-8DF45F283AF0}"/>
    </a:ext>
  </a:extLst>
</a:theme>
</file>

<file path=ppt/theme/theme10.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206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2.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3.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14.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4.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5.xml><?xml version="1.0" encoding="utf-8"?>
<a:theme xmlns:a="http://schemas.openxmlformats.org/drawingml/2006/main" name="4_Microsoft 365 PPT Template - 2018">
  <a:themeElements>
    <a:clrScheme name="M365_2018">
      <a:dk1>
        <a:srgbClr val="000000"/>
      </a:dk1>
      <a:lt1>
        <a:srgbClr val="FFFFFF"/>
      </a:lt1>
      <a:dk2>
        <a:srgbClr val="0078D4"/>
      </a:dk2>
      <a:lt2>
        <a:srgbClr val="FFFFFF"/>
      </a:lt2>
      <a:accent1>
        <a:srgbClr val="0078D4"/>
      </a:accent1>
      <a:accent2>
        <a:srgbClr val="002050"/>
      </a:accent2>
      <a:accent3>
        <a:srgbClr val="2F2F2F"/>
      </a:accent3>
      <a:accent4>
        <a:srgbClr val="737373"/>
      </a:accent4>
      <a:accent5>
        <a:srgbClr val="D2D2D2"/>
      </a:accent5>
      <a:accent6>
        <a:srgbClr val="E6E6E6"/>
      </a:accent6>
      <a:hlink>
        <a:srgbClr val="0078D4"/>
      </a:hlink>
      <a:folHlink>
        <a:srgbClr val="0078D4"/>
      </a:folHlink>
    </a:clrScheme>
    <a:fontScheme name="Custom 4">
      <a:majorFont>
        <a:latin typeface="Segoe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6.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7709AD425B77D43A7057748556322AA" ma:contentTypeVersion="10" ma:contentTypeDescription="Create a new document." ma:contentTypeScope="" ma:versionID="438ae1851d4e2418714a8f88d610ba0e">
  <xsd:schema xmlns:xsd="http://www.w3.org/2001/XMLSchema" xmlns:xs="http://www.w3.org/2001/XMLSchema" xmlns:p="http://schemas.microsoft.com/office/2006/metadata/properties" xmlns:ns2="56d91db1-f63d-4b8d-bca2-c1351384f654" xmlns:ns3="c0eff96d-1f37-466c-ba35-058e7e701562" targetNamespace="http://schemas.microsoft.com/office/2006/metadata/properties" ma:root="true" ma:fieldsID="2067727f51445e30a920b5a0ecb6e955" ns2:_="" ns3:_="">
    <xsd:import namespace="56d91db1-f63d-4b8d-bca2-c1351384f654"/>
    <xsd:import namespace="c0eff96d-1f37-466c-ba35-058e7e701562"/>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d91db1-f63d-4b8d-bca2-c1351384f6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eff96d-1f37-466c-ba35-058e7e70156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286182-BF63-4C77-B124-966209548D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d91db1-f63d-4b8d-bca2-c1351384f654"/>
    <ds:schemaRef ds:uri="c0eff96d-1f37-466c-ba35-058e7e7015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3273CB-91CA-421D-AA36-38236BB939FB}">
  <ds:schemaRefs>
    <ds:schemaRef ds:uri="http://schemas.microsoft.com/sharepoint/v3/contenttype/forms"/>
  </ds:schemaRefs>
</ds:datastoreItem>
</file>

<file path=customXml/itemProps3.xml><?xml version="1.0" encoding="utf-8"?>
<ds:datastoreItem xmlns:ds="http://schemas.openxmlformats.org/officeDocument/2006/customXml" ds:itemID="{87F0EE83-1DD8-4F67-A05D-6ECB7DDE5863}">
  <ds:schemaRefs>
    <ds:schemaRef ds:uri="56d91db1-f63d-4b8d-bca2-c1351384f654"/>
    <ds:schemaRef ds:uri="http://purl.org/dc/terms/"/>
    <ds:schemaRef ds:uri="http://purl.org/dc/elements/1.1/"/>
    <ds:schemaRef ds:uri="http://schemas.microsoft.com/office/infopath/2007/PartnerControls"/>
    <ds:schemaRef ds:uri="c0eff96d-1f37-466c-ba35-058e7e701562"/>
    <ds:schemaRef ds:uri="http://purl.org/dc/dcmitype/"/>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17</TotalTime>
  <Words>3526</Words>
  <Application>Microsoft Office PowerPoint</Application>
  <PresentationFormat>Widescreen</PresentationFormat>
  <Paragraphs>775</Paragraphs>
  <Slides>45</Slides>
  <Notes>41</Notes>
  <HiddenSlides>0</HiddenSlides>
  <MMClips>6</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45</vt:i4>
      </vt:variant>
    </vt:vector>
  </HeadingPairs>
  <TitlesOfParts>
    <vt:vector size="75" baseType="lpstr">
      <vt:lpstr>Arial</vt:lpstr>
      <vt:lpstr>Calibri</vt:lpstr>
      <vt:lpstr>Consolas</vt:lpstr>
      <vt:lpstr>Courier New</vt:lpstr>
      <vt:lpstr>Segoe Pro</vt:lpstr>
      <vt:lpstr>Segoe Pro Light</vt:lpstr>
      <vt:lpstr>Segoe Pro Semibold</vt:lpstr>
      <vt:lpstr>Segoe Semibold</vt:lpstr>
      <vt:lpstr>Segoe UI</vt:lpstr>
      <vt:lpstr>Segoe UI </vt:lpstr>
      <vt:lpstr>Segoe UI Light</vt:lpstr>
      <vt:lpstr>Segoe UI Semibold</vt:lpstr>
      <vt:lpstr>Segoe UI Semilight</vt:lpstr>
      <vt:lpstr>Times New Roman</vt:lpstr>
      <vt:lpstr>Wingdings</vt:lpstr>
      <vt:lpstr>6_Microsoft 365 PPT Template - 2018</vt:lpstr>
      <vt:lpstr>1_Microsoft 365 PPT Template - 2018</vt:lpstr>
      <vt:lpstr>8_Microsoft 365 PPT Template - 2018</vt:lpstr>
      <vt:lpstr>9-51052_Microsoft_Inspire_Template_Light</vt:lpstr>
      <vt:lpstr>4_Microsoft 365 PPT Template - 2018</vt:lpstr>
      <vt:lpstr>Microsoft 365 PPT Template - 2018</vt:lpstr>
      <vt:lpstr>Server and Cloud 2013</vt:lpstr>
      <vt:lpstr>1_TEE14 Speaker PPT Template</vt:lpstr>
      <vt:lpstr>1_5-50203_Microsoft_Ignite_Template</vt:lpstr>
      <vt:lpstr>5-50109_Microsoft_Light_Template</vt:lpstr>
      <vt:lpstr>2_5-50203_Microsoft_Ignite_Template</vt:lpstr>
      <vt:lpstr>3_5-50203_Microsoft_Ignite_Template</vt:lpstr>
      <vt:lpstr>White Template</vt:lpstr>
      <vt:lpstr>1_White Template</vt:lpstr>
      <vt:lpstr>think-cell Slide</vt:lpstr>
      <vt:lpstr>Windows Virtual Desktop Technical Fundamentals Introduction workshop - 21. January 2020</vt:lpstr>
      <vt:lpstr>Windows Virtual Desktop Technical Fundamentals </vt:lpstr>
      <vt:lpstr>Windows Virtual Desktop Technical Fundamentals </vt:lpstr>
      <vt:lpstr>Kahoot! Windows Virtual Desktop quiz</vt:lpstr>
      <vt:lpstr>Module 1: Introduction</vt:lpstr>
      <vt:lpstr>            </vt:lpstr>
      <vt:lpstr>           </vt:lpstr>
      <vt:lpstr>Today’s challenges</vt:lpstr>
      <vt:lpstr>Azure RemoteApp 2014/2015</vt:lpstr>
      <vt:lpstr>Azure RemoteApp 2014/2015</vt:lpstr>
      <vt:lpstr>PowerPoint Presentation</vt:lpstr>
      <vt:lpstr>Ignite 2017 Roadmap</vt:lpstr>
      <vt:lpstr>Ignite 2018 Roadmap</vt:lpstr>
      <vt:lpstr>Windows Virtual Desktop timeline  </vt:lpstr>
      <vt:lpstr>Azure: The Future of Windows Virtualization</vt:lpstr>
      <vt:lpstr>PowerPoint Presentation</vt:lpstr>
      <vt:lpstr>PowerPoint Presentation</vt:lpstr>
      <vt:lpstr>PowerPoint Presentation</vt:lpstr>
      <vt:lpstr>Windows Virtual Desktop</vt:lpstr>
      <vt:lpstr>What is Windows Virtual Desktop? </vt:lpstr>
      <vt:lpstr>Multi-user Windows 10 </vt:lpstr>
      <vt:lpstr>Office 365 ProPlus</vt:lpstr>
      <vt:lpstr>Other applications</vt:lpstr>
      <vt:lpstr>Virtualization hosts today</vt:lpstr>
      <vt:lpstr>Virtualization hosts of the future</vt:lpstr>
      <vt:lpstr>PowerPoint Presentation</vt:lpstr>
      <vt:lpstr>PowerPoint Presentation</vt:lpstr>
      <vt:lpstr>Firstline Workers</vt:lpstr>
      <vt:lpstr>Many customers are already eligible for  Windows Virtual Desktop  Windows Virtual Desktop Licensing Requirements</vt:lpstr>
      <vt:lpstr>Comparison of Business Premium, Microsoft 365 Business, Office 365 E3 and E5</vt:lpstr>
      <vt:lpstr>Windows Virtual Desktop</vt:lpstr>
      <vt:lpstr>Azure AD Authentication</vt:lpstr>
      <vt:lpstr>User Connection Flow</vt:lpstr>
      <vt:lpstr>Improved Isolation: Reverse Connect</vt:lpstr>
      <vt:lpstr>Multitenancy</vt:lpstr>
      <vt:lpstr>Extensible Platform</vt:lpstr>
      <vt:lpstr>Select from WVD Native, Citrix Cloud+WVD and VMWare+WVD based on customer situation</vt:lpstr>
      <vt:lpstr>New deployment steps</vt:lpstr>
      <vt:lpstr>PowerShell</vt:lpstr>
      <vt:lpstr>PowerPoint Presentation</vt:lpstr>
      <vt:lpstr>WVD PowerShell</vt:lpstr>
      <vt:lpstr>HostPool flexibility</vt:lpstr>
      <vt:lpstr>Summary: Windows Virtual Desktop</vt:lpstr>
      <vt:lpstr>Example: Dynamic Scaling of Virtual Machines</vt:lpstr>
      <vt:lpstr>End of Module 1   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Business Scholarship Event  May 7-10th  Crete, Greece Crete, Greece</dc:title>
  <dc:subject/>
  <dc:creator>Matt Hall</dc:creator>
  <cp:keywords/>
  <dc:description/>
  <cp:lastModifiedBy>Peter Selch Dahl</cp:lastModifiedBy>
  <cp:revision>1</cp:revision>
  <dcterms:created xsi:type="dcterms:W3CDTF">2019-05-06T07:22:48Z</dcterms:created>
  <dcterms:modified xsi:type="dcterms:W3CDTF">2020-01-22T04:35: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19-05-07T11:29:35.6630877Z</vt:lpwstr>
  </property>
  <property fmtid="{D5CDD505-2E9C-101B-9397-08002B2CF9AE}" pid="4" name="Sensitivity">
    <vt:lpwstr>General</vt:lpwstr>
  </property>
  <property fmtid="{D5CDD505-2E9C-101B-9397-08002B2CF9AE}" pid="5" name="MSIP_Label_f42aa342-8706-4288-bd11-ebb85995028c_Application">
    <vt:lpwstr>Microsoft Azure Information Protection</vt:lpwstr>
  </property>
  <property fmtid="{D5CDD505-2E9C-101B-9397-08002B2CF9AE}" pid="6" name="MSIP_Label_f42aa342-8706-4288-bd11-ebb85995028c_ActionId">
    <vt:lpwstr>e18bedd8-553a-4a11-b8c6-4e74dd92238b</vt:lpwstr>
  </property>
  <property fmtid="{D5CDD505-2E9C-101B-9397-08002B2CF9AE}" pid="7" name="MSIP_Label_f42aa342-8706-4288-bd11-ebb85995028c_Name">
    <vt:lpwstr>General</vt:lpwstr>
  </property>
  <property fmtid="{D5CDD505-2E9C-101B-9397-08002B2CF9AE}" pid="8" name="MSIP_Label_f42aa342-8706-4288-bd11-ebb85995028c_SiteId">
    <vt:lpwstr>72f988bf-86f1-41af-91ab-2d7cd011db47</vt:lpwstr>
  </property>
  <property fmtid="{D5CDD505-2E9C-101B-9397-08002B2CF9AE}" pid="9" name="MSIP_Label_f42aa342-8706-4288-bd11-ebb85995028c_Owner">
    <vt:lpwstr>zasaeed@microsoft.com</vt:lpwstr>
  </property>
  <property fmtid="{D5CDD505-2E9C-101B-9397-08002B2CF9AE}" pid="10" name="MSIP_Label_f42aa342-8706-4288-bd11-ebb85995028c_Extended_MSFT_Method">
    <vt:lpwstr>Automatic</vt:lpwstr>
  </property>
  <property fmtid="{D5CDD505-2E9C-101B-9397-08002B2CF9AE}" pid="11" name="ContentTypeId">
    <vt:lpwstr>0x010100D7709AD425B77D43A7057748556322AA</vt:lpwstr>
  </property>
</Properties>
</file>